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021" r:id="rId4"/>
    <p:sldMasterId id="2147484141" r:id="rId5"/>
    <p:sldMasterId id="2147484162" r:id="rId6"/>
  </p:sldMasterIdLst>
  <p:notesMasterIdLst>
    <p:notesMasterId r:id="rId31"/>
  </p:notesMasterIdLst>
  <p:handoutMasterIdLst>
    <p:handoutMasterId r:id="rId32"/>
  </p:handoutMasterIdLst>
  <p:sldIdLst>
    <p:sldId id="404" r:id="rId7"/>
    <p:sldId id="340" r:id="rId8"/>
    <p:sldId id="427" r:id="rId9"/>
    <p:sldId id="341" r:id="rId10"/>
    <p:sldId id="430" r:id="rId11"/>
    <p:sldId id="333" r:id="rId12"/>
    <p:sldId id="407" r:id="rId13"/>
    <p:sldId id="429" r:id="rId14"/>
    <p:sldId id="414" r:id="rId15"/>
    <p:sldId id="342" r:id="rId16"/>
    <p:sldId id="359" r:id="rId17"/>
    <p:sldId id="384" r:id="rId18"/>
    <p:sldId id="410" r:id="rId19"/>
    <p:sldId id="405" r:id="rId20"/>
    <p:sldId id="408" r:id="rId21"/>
    <p:sldId id="344" r:id="rId22"/>
    <p:sldId id="401" r:id="rId23"/>
    <p:sldId id="285" r:id="rId24"/>
    <p:sldId id="426" r:id="rId25"/>
    <p:sldId id="420" r:id="rId26"/>
    <p:sldId id="421" r:id="rId27"/>
    <p:sldId id="422" r:id="rId28"/>
    <p:sldId id="423" r:id="rId29"/>
    <p:sldId id="425" r:id="rId30"/>
  </p:sldIdLst>
  <p:sldSz cx="9144000" cy="5143500" type="screen16x9"/>
  <p:notesSz cx="7077075" cy="9363075"/>
  <p:embeddedFontLst>
    <p:embeddedFont>
      <p:font typeface="Raleway SemiBold" panose="020B0703030101060003" pitchFamily="34" charset="0"/>
      <p:bold r:id="rId33"/>
      <p:boldItalic r:id="rId34"/>
    </p:embeddedFont>
    <p:embeddedFont>
      <p:font typeface="Raleway Light" panose="020B0403030101060003" pitchFamily="34" charset="0"/>
      <p:regular r:id="rId35"/>
      <p:italic r:id="rId36"/>
    </p:embeddedFont>
    <p:embeddedFont>
      <p:font typeface="Poppins" panose="020B0604020202020204" charset="0"/>
      <p:regular r:id="rId37"/>
      <p:bold r:id="rId38"/>
      <p:italic r:id="rId39"/>
      <p:boldItalic r:id="rId40"/>
    </p:embeddedFont>
    <p:embeddedFont>
      <p:font typeface="Raleway" panose="020B0503030101060003" pitchFamily="34" charset="0"/>
      <p:regular r:id="rId41"/>
      <p:bold r:id="rId42"/>
      <p:italic r:id="rId43"/>
      <p:boldItalic r:id="rId44"/>
    </p:embeddedFont>
    <p:embeddedFont>
      <p:font typeface="Segoe UI" panose="020B0502040204020203" pitchFamily="34" charset="0"/>
      <p:regular r:id="rId45"/>
      <p:bold r:id="rId46"/>
      <p:italic r:id="rId47"/>
      <p:boldItalic r:id="rId48"/>
    </p:embeddedFont>
  </p:embeddedFont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1pPr>
    <a:lvl2pPr marL="408173"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2pPr>
    <a:lvl3pPr marL="816347"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3pPr>
    <a:lvl4pPr marL="1224521"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4pPr>
    <a:lvl5pPr marL="1632694"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5pPr>
    <a:lvl6pPr marL="2040868" algn="l" defTabSz="816347" rtl="0" eaLnBrk="1" latinLnBrk="0" hangingPunct="1">
      <a:defRPr kern="1200">
        <a:solidFill>
          <a:schemeClr val="tx2"/>
        </a:solidFill>
        <a:latin typeface="Arial" charset="0"/>
        <a:ea typeface="+mn-ea"/>
        <a:cs typeface="+mn-cs"/>
      </a:defRPr>
    </a:lvl6pPr>
    <a:lvl7pPr marL="2449041" algn="l" defTabSz="816347" rtl="0" eaLnBrk="1" latinLnBrk="0" hangingPunct="1">
      <a:defRPr kern="1200">
        <a:solidFill>
          <a:schemeClr val="tx2"/>
        </a:solidFill>
        <a:latin typeface="Arial" charset="0"/>
        <a:ea typeface="+mn-ea"/>
        <a:cs typeface="+mn-cs"/>
      </a:defRPr>
    </a:lvl7pPr>
    <a:lvl8pPr marL="2857214" algn="l" defTabSz="816347" rtl="0" eaLnBrk="1" latinLnBrk="0" hangingPunct="1">
      <a:defRPr kern="1200">
        <a:solidFill>
          <a:schemeClr val="tx2"/>
        </a:solidFill>
        <a:latin typeface="Arial" charset="0"/>
        <a:ea typeface="+mn-ea"/>
        <a:cs typeface="+mn-cs"/>
      </a:defRPr>
    </a:lvl8pPr>
    <a:lvl9pPr marL="3265388" algn="l" defTabSz="816347" rtl="0" eaLnBrk="1" latinLnBrk="0" hangingPunct="1">
      <a:defRPr kern="1200">
        <a:solidFill>
          <a:schemeClr val="tx2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 userDrawn="1">
          <p15:clr>
            <a:srgbClr val="A4A3A4"/>
          </p15:clr>
        </p15:guide>
        <p15:guide id="2" pos="222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essa Boutwell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4141"/>
    <a:srgbClr val="303030"/>
    <a:srgbClr val="54B948"/>
    <a:srgbClr val="1A1F71"/>
    <a:srgbClr val="020000"/>
    <a:srgbClr val="000000"/>
    <a:srgbClr val="55B74E"/>
    <a:srgbClr val="B820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434" autoAdjust="0"/>
    <p:restoredTop sz="92457" autoAdjust="0"/>
  </p:normalViewPr>
  <p:slideViewPr>
    <p:cSldViewPr>
      <p:cViewPr varScale="1">
        <p:scale>
          <a:sx n="86" d="100"/>
          <a:sy n="86" d="100"/>
        </p:scale>
        <p:origin x="380" y="5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13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1760" y="28"/>
      </p:cViewPr>
      <p:guideLst>
        <p:guide orient="horz" pos="2949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font" Target="fonts/font15.fntdata"/><Relationship Id="rId50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font" Target="fonts/font14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font" Target="fonts/font4.fntdata"/><Relationship Id="rId49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2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font" Target="fonts/font16.fntdata"/><Relationship Id="rId8" Type="http://schemas.openxmlformats.org/officeDocument/2006/relationships/slide" Target="slides/slide2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93483"/>
            <a:ext cx="3066412" cy="467995"/>
          </a:xfrm>
          <a:prstGeom prst="rect">
            <a:avLst/>
          </a:prstGeom>
        </p:spPr>
        <p:txBody>
          <a:bodyPr vert="horz" lIns="92080" tIns="46040" rIns="92080" bIns="46040" rtlCol="0" anchor="b"/>
          <a:lstStyle>
            <a:lvl1pPr algn="l">
              <a:defRPr sz="1200"/>
            </a:lvl1pPr>
          </a:lstStyle>
          <a:p>
            <a:endParaRPr lang="en-US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9063" y="8893483"/>
            <a:ext cx="3066412" cy="467995"/>
          </a:xfrm>
          <a:prstGeom prst="rect">
            <a:avLst/>
          </a:prstGeom>
        </p:spPr>
        <p:txBody>
          <a:bodyPr vert="horz" lIns="92080" tIns="46040" rIns="92080" bIns="46040" rtlCol="0" anchor="b"/>
          <a:lstStyle>
            <a:lvl1pPr algn="r">
              <a:defRPr sz="1200"/>
            </a:lvl1pPr>
          </a:lstStyle>
          <a:p>
            <a:fld id="{AE85B949-8125-4784-80AD-E193E8FC35E6}" type="slidenum">
              <a:rPr lang="en-US" smtClean="0">
                <a:solidFill>
                  <a:schemeClr val="bg2"/>
                </a:solidFill>
                <a:latin typeface="+mn-lt"/>
              </a:rPr>
              <a:t>‹#›</a:t>
            </a:fld>
            <a:endParaRPr lang="en-US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64737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38875" cy="3509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80" tIns="46040" rIns="92080" bIns="4604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388" y="4446743"/>
            <a:ext cx="5662300" cy="4213543"/>
          </a:xfrm>
          <a:prstGeom prst="rect">
            <a:avLst/>
          </a:prstGeom>
        </p:spPr>
        <p:txBody>
          <a:bodyPr vert="horz" lIns="92080" tIns="46040" rIns="92080" bIns="4604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483"/>
            <a:ext cx="3066412" cy="467995"/>
          </a:xfrm>
          <a:prstGeom prst="rect">
            <a:avLst/>
          </a:prstGeom>
        </p:spPr>
        <p:txBody>
          <a:bodyPr vert="horz" lIns="92080" tIns="46040" rIns="92080" bIns="46040" rtlCol="0" anchor="b"/>
          <a:lstStyle>
            <a:lvl1pPr algn="l"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Visa Pres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9063" y="8893483"/>
            <a:ext cx="3066412" cy="467995"/>
          </a:xfrm>
          <a:prstGeom prst="rect">
            <a:avLst/>
          </a:prstGeom>
        </p:spPr>
        <p:txBody>
          <a:bodyPr vert="horz" lIns="92080" tIns="46040" rIns="92080" bIns="46040" rtlCol="0" anchor="b"/>
          <a:lstStyle>
            <a:lvl1pPr algn="r"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fld id="{6753247F-A630-441B-B542-D4D3E6FAE1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537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Visa Present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28204D-FC58-4A59-A2D3-ED4EB93B972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5667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Visa Present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28204D-FC58-4A59-A2D3-ED4EB93B972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8679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" name="Google Shape;954;g30b70e626a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55" name="Google Shape;955;g30b70e626a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643689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8" name="Google Shape;968;g34125fb484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69" name="Google Shape;969;g34125fb484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801057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" name="Google Shape;981;g3f458166d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2" name="Google Shape;982;g3f458166d7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59781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f458166d7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f458166d7_0_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54266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" name="Google Shape;1020;g3f458166d7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1" name="Google Shape;1021;g3f458166d7_0_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80316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3247F-A630-441B-B542-D4D3E6FAE13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956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Visa Present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28204D-FC58-4A59-A2D3-ED4EB93B972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5667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3247F-A630-441B-B542-D4D3E6FAE13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175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3247F-A630-441B-B542-D4D3E6FAE136}" type="slidenum">
              <a:rPr lang="en-US" smtClean="0">
                <a:solidFill>
                  <a:srgbClr val="5C5C5C"/>
                </a:solidFill>
              </a:rPr>
              <a:pPr/>
              <a:t>12</a:t>
            </a:fld>
            <a:endParaRPr lang="en-US" dirty="0">
              <a:solidFill>
                <a:srgbClr val="5C5C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7404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3247F-A630-441B-B542-D4D3E6FAE13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175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3247F-A630-441B-B542-D4D3E6FAE136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175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3247F-A630-441B-B542-D4D3E6FAE13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1757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Visa Present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28204D-FC58-4A59-A2D3-ED4EB93B972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5667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Hero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57200" y="3931920"/>
            <a:ext cx="6251837" cy="269304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457200" y="4389120"/>
            <a:ext cx="6227064" cy="169277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457200" y="4663440"/>
            <a:ext cx="6227064" cy="1692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rgbClr val="41414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200" y="4106430"/>
            <a:ext cx="1017303" cy="67512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356616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01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act (Light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ull_bleed_background_lig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9050"/>
            <a:ext cx="9164290" cy="516255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548640" y="1508760"/>
            <a:ext cx="80772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82880" y="48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1200" b="0" i="0" smtClean="0">
                <a:solidFill>
                  <a:schemeClr val="tx1"/>
                </a:solidFill>
                <a:latin typeface="Raleway"/>
                <a:cs typeface="Raleway"/>
              </a:rPr>
              <a:pPr algn="l"/>
              <a:t>‹#›</a:t>
            </a:fld>
            <a:endParaRPr lang="en-US" sz="1200" b="0" i="0" dirty="0" smtClean="0">
              <a:solidFill>
                <a:schemeClr val="tx1"/>
              </a:solidFill>
              <a:latin typeface="Raleway"/>
              <a:cs typeface="Raleway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5866" y="4171950"/>
            <a:ext cx="126304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8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Img Left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800600" y="2032922"/>
            <a:ext cx="3733800" cy="935641"/>
          </a:xfrm>
          <a:effectLst/>
        </p:spPr>
        <p:txBody>
          <a:bodyPr anchor="ctr" anchorCtr="0"/>
          <a:lstStyle>
            <a:lvl1pPr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419600" cy="514349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03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57200" y="1200150"/>
            <a:ext cx="7955281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821099"/>
            <a:ext cx="1600200" cy="112851"/>
          </a:xfrm>
        </p:spPr>
        <p:txBody>
          <a:bodyPr/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r>
              <a:rPr lang="en-US" dirty="0" smtClean="0"/>
              <a:t>Cite source here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2362200" y="1581150"/>
            <a:ext cx="6172201" cy="3352800"/>
          </a:xfrm>
        </p:spPr>
        <p:txBody>
          <a:bodyPr/>
          <a:lstStyle>
            <a:lvl1pPr marL="0" indent="0">
              <a:buNone/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dirty="0" smtClean="0"/>
              <a:t>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194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HL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61436"/>
            <a:ext cx="7650480" cy="914914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219200" y="1657350"/>
            <a:ext cx="2971800" cy="2286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3000" y="1657350"/>
            <a:ext cx="2971800" cy="2286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657350"/>
            <a:ext cx="0" cy="228600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5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310500"/>
            <a:ext cx="3872866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80" y="1310500"/>
            <a:ext cx="3778797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457200" y="1724570"/>
            <a:ext cx="3873608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724570"/>
            <a:ext cx="3779521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70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+ 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94760"/>
            <a:ext cx="3688080" cy="767390"/>
          </a:xfrm>
        </p:spPr>
        <p:txBody>
          <a:bodyPr wrap="square">
            <a:spAutoFit/>
          </a:bodyPr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600">
                <a:solidFill>
                  <a:srgbClr val="414141"/>
                </a:solidFill>
              </a:defRPr>
            </a:lvl2pPr>
            <a:lvl3pPr marL="658368" indent="-173736">
              <a:defRPr sz="1400">
                <a:solidFill>
                  <a:srgbClr val="41414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194760"/>
            <a:ext cx="3581399" cy="68736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>
                <a:solidFill>
                  <a:srgbClr val="414141"/>
                </a:solidFill>
              </a:defRPr>
            </a:lvl1pPr>
            <a:lvl2pPr>
              <a:defRPr lang="en-US" dirty="0" smtClean="0">
                <a:solidFill>
                  <a:srgbClr val="414141"/>
                </a:solidFill>
              </a:defRPr>
            </a:lvl2pPr>
            <a:lvl3pPr>
              <a:defRPr lang="en-US" dirty="0" smtClean="0"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572000" y="1200150"/>
            <a:ext cx="0" cy="342900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/>
          <p:nvPr userDrawn="1"/>
        </p:nvCxnSpPr>
        <p:spPr bwMode="auto">
          <a:xfrm>
            <a:off x="457200" y="2726581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Content Placeholder 2"/>
          <p:cNvSpPr>
            <a:spLocks noGrp="1"/>
          </p:cNvSpPr>
          <p:nvPr>
            <p:ph sz="half" idx="10"/>
          </p:nvPr>
        </p:nvSpPr>
        <p:spPr>
          <a:xfrm>
            <a:off x="457200" y="3023560"/>
            <a:ext cx="3688080" cy="767390"/>
          </a:xfrm>
        </p:spPr>
        <p:txBody>
          <a:bodyPr wrap="square">
            <a:spAutoFit/>
          </a:bodyPr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600">
                <a:solidFill>
                  <a:srgbClr val="414141"/>
                </a:solidFill>
              </a:defRPr>
            </a:lvl2pPr>
            <a:lvl3pPr marL="658368" indent="-173736">
              <a:defRPr sz="1400">
                <a:solidFill>
                  <a:srgbClr val="41414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1"/>
          </p:nvPr>
        </p:nvSpPr>
        <p:spPr>
          <a:xfrm>
            <a:off x="4953000" y="3028950"/>
            <a:ext cx="3688080" cy="767390"/>
          </a:xfrm>
        </p:spPr>
        <p:txBody>
          <a:bodyPr wrap="square">
            <a:spAutoFit/>
          </a:bodyPr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600">
                <a:solidFill>
                  <a:srgbClr val="414141"/>
                </a:solidFill>
              </a:defRPr>
            </a:lvl2pPr>
            <a:lvl3pPr marL="658368" indent="-173736">
              <a:defRPr sz="1400">
                <a:solidFill>
                  <a:srgbClr val="41414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06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(w/ Ru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83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61950"/>
            <a:ext cx="7315200" cy="430887"/>
          </a:xfrm>
        </p:spPr>
        <p:txBody>
          <a:bodyPr/>
          <a:lstStyle>
            <a:lvl1pPr marL="0" indent="0">
              <a:buNone/>
              <a:defRPr sz="2800">
                <a:latin typeface="Raleway Light"/>
                <a:cs typeface="Raleway Ligh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90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213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(Photo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-19050"/>
            <a:ext cx="9144000" cy="369975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8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453764" y="4364093"/>
            <a:ext cx="6227064" cy="169277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453764" y="4539151"/>
            <a:ext cx="6227064" cy="1692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rgbClr val="41414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53763" y="3975275"/>
            <a:ext cx="6251837" cy="269304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6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Green)">
    <p:bg>
      <p:bgPr>
        <a:solidFill>
          <a:srgbClr val="54B9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548640" y="1828800"/>
            <a:ext cx="5931008" cy="997196"/>
          </a:xfrm>
          <a:ln>
            <a:solidFill>
              <a:srgbClr val="55B74E"/>
            </a:solidFill>
          </a:ln>
          <a:effectLst/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545991" y="3108960"/>
            <a:ext cx="3797409" cy="253916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548640" y="3432497"/>
            <a:ext cx="3800856" cy="2539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200" y="4106430"/>
            <a:ext cx="1017303" cy="675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29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(Green)">
    <p:bg>
      <p:bgPr>
        <a:solidFill>
          <a:srgbClr val="54B9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0473" cy="5143499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1"/>
          </p:nvPr>
        </p:nvSpPr>
        <p:spPr bwMode="black">
          <a:xfrm>
            <a:off x="542544" y="3432497"/>
            <a:ext cx="3800856" cy="2539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33400" y="2419350"/>
            <a:ext cx="5867400" cy="430887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1pPr>
            <a:lvl2pPr marL="227012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2pPr>
            <a:lvl3pPr marL="486918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3pPr>
            <a:lvl4pPr marL="674624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4pPr>
            <a:lvl5pPr marL="885825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/>
          </p:nvPr>
        </p:nvSpPr>
        <p:spPr bwMode="black">
          <a:xfrm>
            <a:off x="542544" y="3105150"/>
            <a:ext cx="38008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Raleway SemiBold"/>
                <a:cs typeface="Raleway SemiBold"/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1546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1_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32769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Hero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57200" y="3931920"/>
            <a:ext cx="6251837" cy="269304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457200" y="4389120"/>
            <a:ext cx="6227064" cy="169277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457200" y="4663440"/>
            <a:ext cx="6227064" cy="1692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rgbClr val="41414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200" y="4106430"/>
            <a:ext cx="1017303" cy="67512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356616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594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Green)">
    <p:bg>
      <p:bgPr>
        <a:solidFill>
          <a:srgbClr val="54B9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548640" y="1828800"/>
            <a:ext cx="5931008" cy="997196"/>
          </a:xfrm>
          <a:ln>
            <a:solidFill>
              <a:srgbClr val="55B74E"/>
            </a:solidFill>
          </a:ln>
          <a:effectLst/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545991" y="3108960"/>
            <a:ext cx="3797409" cy="253916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548640" y="3432497"/>
            <a:ext cx="3800856" cy="2539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200" y="4106430"/>
            <a:ext cx="1017303" cy="675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1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g Right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685800" y="347727"/>
            <a:ext cx="583913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32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685800" y="1207805"/>
            <a:ext cx="583913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2000" b="1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685800" y="1502785"/>
            <a:ext cx="5839130" cy="225703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1600">
                <a:solidFill>
                  <a:srgbClr val="41414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58000" y="-1"/>
            <a:ext cx="2286000" cy="514807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4552950"/>
            <a:ext cx="607991" cy="40412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6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+ Bkg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22" y="499863"/>
            <a:ext cx="8267178" cy="4657176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57200" y="1554480"/>
            <a:ext cx="5221623" cy="841256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414141"/>
                </a:solidFill>
              </a:defRPr>
            </a:lvl1pPr>
            <a:lvl2pPr>
              <a:lnSpc>
                <a:spcPct val="100000"/>
              </a:lnSpc>
              <a:defRPr>
                <a:solidFill>
                  <a:srgbClr val="414141"/>
                </a:solidFill>
              </a:defRPr>
            </a:lvl2pPr>
            <a:lvl3pPr>
              <a:lnSpc>
                <a:spcPct val="100000"/>
              </a:lnSpc>
              <a:defRPr>
                <a:solidFill>
                  <a:srgbClr val="414141"/>
                </a:solidFill>
              </a:defRPr>
            </a:lvl3pPr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365760"/>
            <a:ext cx="5218176" cy="430887"/>
          </a:xfrm>
        </p:spPr>
        <p:txBody>
          <a:bodyPr wrap="square">
            <a:spAutoFit/>
          </a:bodyPr>
          <a:lstStyle>
            <a:lvl1pPr>
              <a:defRPr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70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457200" y="1280160"/>
            <a:ext cx="8031481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365760"/>
            <a:ext cx="8031481" cy="377026"/>
          </a:xfrm>
        </p:spPr>
        <p:txBody>
          <a:bodyPr wrap="square">
            <a:spAutoFit/>
          </a:bodyPr>
          <a:lstStyle>
            <a:lvl1pPr>
              <a:defRPr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200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horse + Img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7"/>
          <p:cNvSpPr>
            <a:spLocks noGrp="1"/>
          </p:cNvSpPr>
          <p:nvPr>
            <p:ph idx="11"/>
          </p:nvPr>
        </p:nvSpPr>
        <p:spPr>
          <a:xfrm>
            <a:off x="457200" y="1463040"/>
            <a:ext cx="4102208" cy="32423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>
                <a:solidFill>
                  <a:srgbClr val="414141"/>
                </a:solidFill>
              </a:rPr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4953000" y="0"/>
            <a:ext cx="4191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4108705" cy="91973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4705350"/>
            <a:ext cx="536028" cy="355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73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orkhorse + Img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3035808" y="1828800"/>
            <a:ext cx="5486400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34380" y="365760"/>
            <a:ext cx="5498658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034381" y="1371600"/>
            <a:ext cx="5498658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2667000" cy="514807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3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horse + Bkg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57200" y="1876970"/>
            <a:ext cx="8107681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365760"/>
            <a:ext cx="8107681" cy="377026"/>
          </a:xfrm>
        </p:spPr>
        <p:txBody>
          <a:bodyPr wrap="square">
            <a:spAutoFit/>
          </a:bodyPr>
          <a:lstStyle>
            <a:lvl1pPr>
              <a:defRPr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57200" y="1371600"/>
            <a:ext cx="8107681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343400" y="1043519"/>
            <a:ext cx="4800600" cy="409998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30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g Right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685800" y="347727"/>
            <a:ext cx="583913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32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685800" y="1207805"/>
            <a:ext cx="583913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2000" b="1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685800" y="1502785"/>
            <a:ext cx="5839130" cy="225703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1600">
                <a:solidFill>
                  <a:srgbClr val="41414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58000" y="-1"/>
            <a:ext cx="2286000" cy="514807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4552950"/>
            <a:ext cx="607991" cy="40412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657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act (Dark)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ull_bleed_background_dar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548640" y="1510039"/>
            <a:ext cx="80772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 descr="yes_logo_wht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2400" y="4196194"/>
            <a:ext cx="1226507" cy="813955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82880" y="48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1200" smtClean="0">
                <a:solidFill>
                  <a:srgbClr val="FFFFFF"/>
                </a:solidFill>
                <a:latin typeface="Raleway"/>
                <a:cs typeface="Raleway"/>
              </a:rPr>
              <a:pPr/>
              <a:t>‹#›</a:t>
            </a:fld>
            <a:endParaRPr lang="en-US" sz="1200" dirty="0" smtClean="0">
              <a:solidFill>
                <a:srgbClr val="FFFFFF"/>
              </a:solidFill>
              <a:latin typeface="Raleway"/>
              <a:cs typeface="Raleway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49275" y="2800350"/>
            <a:ext cx="2346325" cy="492443"/>
          </a:xfrm>
        </p:spPr>
        <p:txBody>
          <a:bodyPr/>
          <a:lstStyle>
            <a:lvl1pPr marL="204087" indent="-204087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1pPr>
            <a:lvl2pPr marL="460375" indent="-233363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2pPr>
            <a:lvl3pPr marL="658368" indent="-171450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3pPr>
            <a:lvl4pPr marL="877824" indent="-203200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4pPr>
            <a:lvl5pPr marL="1028700" indent="-142875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521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act (Light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ull_bleed_background_lig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9050"/>
            <a:ext cx="9164290" cy="516255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548640" y="1508760"/>
            <a:ext cx="80772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82880" y="48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1200" smtClean="0">
                <a:solidFill>
                  <a:srgbClr val="000000"/>
                </a:solidFill>
                <a:latin typeface="Raleway"/>
                <a:cs typeface="Raleway"/>
              </a:rPr>
              <a:pPr/>
              <a:t>‹#›</a:t>
            </a:fld>
            <a:endParaRPr lang="en-US" sz="1200" dirty="0" smtClean="0">
              <a:solidFill>
                <a:srgbClr val="000000"/>
              </a:solidFill>
              <a:latin typeface="Raleway"/>
              <a:cs typeface="Raleway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5866" y="4171950"/>
            <a:ext cx="126304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48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Img Left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800600" y="2032922"/>
            <a:ext cx="3733800" cy="935641"/>
          </a:xfrm>
          <a:effectLst/>
        </p:spPr>
        <p:txBody>
          <a:bodyPr anchor="ctr" anchorCtr="0"/>
          <a:lstStyle>
            <a:lvl1pPr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419600" cy="514349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80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57200" y="1200150"/>
            <a:ext cx="7955281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821099"/>
            <a:ext cx="1600200" cy="112851"/>
          </a:xfrm>
        </p:spPr>
        <p:txBody>
          <a:bodyPr/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r>
              <a:rPr lang="en-US" dirty="0" smtClean="0"/>
              <a:t>Cite source here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2362200" y="1581150"/>
            <a:ext cx="6172201" cy="3352800"/>
          </a:xfrm>
        </p:spPr>
        <p:txBody>
          <a:bodyPr/>
          <a:lstStyle>
            <a:lvl1pPr marL="0" indent="0">
              <a:buNone/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dirty="0" smtClean="0"/>
              <a:t>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0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HL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61436"/>
            <a:ext cx="7650480" cy="914914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219200" y="1657350"/>
            <a:ext cx="2971800" cy="2286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3000" y="1657350"/>
            <a:ext cx="2971800" cy="2286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657350"/>
            <a:ext cx="0" cy="228600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81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310500"/>
            <a:ext cx="3872866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80" y="1310500"/>
            <a:ext cx="3778797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457200" y="1724570"/>
            <a:ext cx="3873608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724570"/>
            <a:ext cx="3779521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555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+ 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94760"/>
            <a:ext cx="3688080" cy="767390"/>
          </a:xfrm>
        </p:spPr>
        <p:txBody>
          <a:bodyPr wrap="square">
            <a:spAutoFit/>
          </a:bodyPr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600">
                <a:solidFill>
                  <a:srgbClr val="414141"/>
                </a:solidFill>
              </a:defRPr>
            </a:lvl2pPr>
            <a:lvl3pPr marL="658368" indent="-173736">
              <a:defRPr sz="1400">
                <a:solidFill>
                  <a:srgbClr val="41414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194760"/>
            <a:ext cx="3581399" cy="68736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>
                <a:solidFill>
                  <a:srgbClr val="414141"/>
                </a:solidFill>
              </a:defRPr>
            </a:lvl1pPr>
            <a:lvl2pPr>
              <a:defRPr lang="en-US" dirty="0" smtClean="0">
                <a:solidFill>
                  <a:srgbClr val="414141"/>
                </a:solidFill>
              </a:defRPr>
            </a:lvl2pPr>
            <a:lvl3pPr>
              <a:defRPr lang="en-US" dirty="0" smtClean="0"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572000" y="1200150"/>
            <a:ext cx="0" cy="342900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/>
          <p:nvPr userDrawn="1"/>
        </p:nvCxnSpPr>
        <p:spPr bwMode="auto">
          <a:xfrm>
            <a:off x="457200" y="2726581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Content Placeholder 2"/>
          <p:cNvSpPr>
            <a:spLocks noGrp="1"/>
          </p:cNvSpPr>
          <p:nvPr>
            <p:ph sz="half" idx="10"/>
          </p:nvPr>
        </p:nvSpPr>
        <p:spPr>
          <a:xfrm>
            <a:off x="457200" y="3023560"/>
            <a:ext cx="3688080" cy="767390"/>
          </a:xfrm>
        </p:spPr>
        <p:txBody>
          <a:bodyPr wrap="square">
            <a:spAutoFit/>
          </a:bodyPr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600">
                <a:solidFill>
                  <a:srgbClr val="414141"/>
                </a:solidFill>
              </a:defRPr>
            </a:lvl2pPr>
            <a:lvl3pPr marL="658368" indent="-173736">
              <a:defRPr sz="1400">
                <a:solidFill>
                  <a:srgbClr val="41414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1"/>
          </p:nvPr>
        </p:nvSpPr>
        <p:spPr>
          <a:xfrm>
            <a:off x="4953000" y="3028950"/>
            <a:ext cx="3688080" cy="767390"/>
          </a:xfrm>
        </p:spPr>
        <p:txBody>
          <a:bodyPr wrap="square">
            <a:spAutoFit/>
          </a:bodyPr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600">
                <a:solidFill>
                  <a:srgbClr val="414141"/>
                </a:solidFill>
              </a:defRPr>
            </a:lvl2pPr>
            <a:lvl3pPr marL="658368" indent="-173736">
              <a:defRPr sz="1400">
                <a:solidFill>
                  <a:srgbClr val="41414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1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(w/ Ru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52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61950"/>
            <a:ext cx="7315200" cy="430887"/>
          </a:xfrm>
        </p:spPr>
        <p:txBody>
          <a:bodyPr/>
          <a:lstStyle>
            <a:lvl1pPr marL="0" indent="0">
              <a:buNone/>
              <a:defRPr sz="2800">
                <a:latin typeface="Raleway Light"/>
                <a:cs typeface="Raleway Ligh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747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316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+ Bkg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22" y="499863"/>
            <a:ext cx="8267178" cy="4657176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57200" y="1554480"/>
            <a:ext cx="5221623" cy="841256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414141"/>
                </a:solidFill>
              </a:defRPr>
            </a:lvl1pPr>
            <a:lvl2pPr>
              <a:lnSpc>
                <a:spcPct val="100000"/>
              </a:lnSpc>
              <a:defRPr>
                <a:solidFill>
                  <a:srgbClr val="414141"/>
                </a:solidFill>
              </a:defRPr>
            </a:lvl2pPr>
            <a:lvl3pPr>
              <a:lnSpc>
                <a:spcPct val="100000"/>
              </a:lnSpc>
              <a:defRPr>
                <a:solidFill>
                  <a:srgbClr val="414141"/>
                </a:solidFill>
              </a:defRPr>
            </a:lvl3pPr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365760"/>
            <a:ext cx="5218176" cy="430887"/>
          </a:xfrm>
        </p:spPr>
        <p:txBody>
          <a:bodyPr wrap="square">
            <a:spAutoFit/>
          </a:bodyPr>
          <a:lstStyle>
            <a:lvl1pPr>
              <a:defRPr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33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(Photo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-19050"/>
            <a:ext cx="9144000" cy="369975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8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453764" y="4364093"/>
            <a:ext cx="6227064" cy="169277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453764" y="4539151"/>
            <a:ext cx="6227064" cy="1692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rgbClr val="41414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53763" y="3975275"/>
            <a:ext cx="6251837" cy="269304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68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(Green)">
    <p:bg>
      <p:bgPr>
        <a:solidFill>
          <a:srgbClr val="54B9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0473" cy="5143499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1"/>
          </p:nvPr>
        </p:nvSpPr>
        <p:spPr bwMode="black">
          <a:xfrm>
            <a:off x="542544" y="3432497"/>
            <a:ext cx="3800856" cy="2539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33400" y="2419350"/>
            <a:ext cx="5867400" cy="430887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1pPr>
            <a:lvl2pPr marL="227012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2pPr>
            <a:lvl3pPr marL="486918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3pPr>
            <a:lvl4pPr marL="674624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4pPr>
            <a:lvl5pPr marL="885825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/>
          </p:nvPr>
        </p:nvSpPr>
        <p:spPr bwMode="black">
          <a:xfrm>
            <a:off x="542544" y="3105150"/>
            <a:ext cx="38008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Raleway SemiBold"/>
                <a:cs typeface="Raleway SemiBold"/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8310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Hero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57200" y="3931920"/>
            <a:ext cx="6251837" cy="269304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457200" y="4389120"/>
            <a:ext cx="6227064" cy="169277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457200" y="4663440"/>
            <a:ext cx="6227064" cy="1692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rgbClr val="41414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200" y="4106430"/>
            <a:ext cx="1017303" cy="67512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356616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79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Green)">
    <p:bg>
      <p:bgPr>
        <a:solidFill>
          <a:srgbClr val="54B9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548640" y="1828800"/>
            <a:ext cx="5931008" cy="997196"/>
          </a:xfrm>
          <a:ln>
            <a:solidFill>
              <a:srgbClr val="55B74E"/>
            </a:solidFill>
          </a:ln>
          <a:effectLst/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545991" y="3108960"/>
            <a:ext cx="3797409" cy="253916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548640" y="3432497"/>
            <a:ext cx="3800856" cy="2539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200" y="4106430"/>
            <a:ext cx="1017303" cy="675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55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g Right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685800" y="347727"/>
            <a:ext cx="583913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32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685800" y="1207805"/>
            <a:ext cx="583913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2000" b="1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685800" y="1502785"/>
            <a:ext cx="5839130" cy="225703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1600">
                <a:solidFill>
                  <a:srgbClr val="41414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58000" y="-1"/>
            <a:ext cx="2286000" cy="514807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4552950"/>
            <a:ext cx="607991" cy="40412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736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+ Bkg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22" y="499863"/>
            <a:ext cx="8267178" cy="4657176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57200" y="1554480"/>
            <a:ext cx="5221623" cy="841256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414141"/>
                </a:solidFill>
              </a:defRPr>
            </a:lvl1pPr>
            <a:lvl2pPr>
              <a:lnSpc>
                <a:spcPct val="100000"/>
              </a:lnSpc>
              <a:defRPr>
                <a:solidFill>
                  <a:srgbClr val="414141"/>
                </a:solidFill>
              </a:defRPr>
            </a:lvl2pPr>
            <a:lvl3pPr>
              <a:lnSpc>
                <a:spcPct val="100000"/>
              </a:lnSpc>
              <a:defRPr>
                <a:solidFill>
                  <a:srgbClr val="414141"/>
                </a:solidFill>
              </a:defRPr>
            </a:lvl3pPr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365760"/>
            <a:ext cx="5218176" cy="430887"/>
          </a:xfrm>
        </p:spPr>
        <p:txBody>
          <a:bodyPr wrap="square">
            <a:spAutoFit/>
          </a:bodyPr>
          <a:lstStyle>
            <a:lvl1pPr>
              <a:defRPr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390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457200" y="1280160"/>
            <a:ext cx="8031481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365760"/>
            <a:ext cx="8031481" cy="377026"/>
          </a:xfrm>
        </p:spPr>
        <p:txBody>
          <a:bodyPr wrap="square">
            <a:spAutoFit/>
          </a:bodyPr>
          <a:lstStyle>
            <a:lvl1pPr>
              <a:defRPr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97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horse + Img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7"/>
          <p:cNvSpPr>
            <a:spLocks noGrp="1"/>
          </p:cNvSpPr>
          <p:nvPr>
            <p:ph idx="11"/>
          </p:nvPr>
        </p:nvSpPr>
        <p:spPr>
          <a:xfrm>
            <a:off x="457200" y="1463040"/>
            <a:ext cx="4102208" cy="32423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>
                <a:solidFill>
                  <a:srgbClr val="414141"/>
                </a:solidFill>
              </a:rPr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4953000" y="0"/>
            <a:ext cx="4191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4108705" cy="91973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4705350"/>
            <a:ext cx="536028" cy="355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654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orkhorse + Img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3035808" y="1828800"/>
            <a:ext cx="5486400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34380" y="365760"/>
            <a:ext cx="5498658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034381" y="1371600"/>
            <a:ext cx="5498658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2667000" cy="514807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horse + Bkg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57200" y="1876970"/>
            <a:ext cx="8107681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365760"/>
            <a:ext cx="8107681" cy="377026"/>
          </a:xfrm>
        </p:spPr>
        <p:txBody>
          <a:bodyPr wrap="square">
            <a:spAutoFit/>
          </a:bodyPr>
          <a:lstStyle>
            <a:lvl1pPr>
              <a:defRPr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57200" y="1371600"/>
            <a:ext cx="8107681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343400" y="1043519"/>
            <a:ext cx="4800600" cy="409998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41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457200" y="1280160"/>
            <a:ext cx="8031481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365760"/>
            <a:ext cx="8031481" cy="377026"/>
          </a:xfrm>
        </p:spPr>
        <p:txBody>
          <a:bodyPr wrap="square">
            <a:spAutoFit/>
          </a:bodyPr>
          <a:lstStyle>
            <a:lvl1pPr>
              <a:defRPr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00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act (Dark)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ull_bleed_background_dar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548640" y="1510039"/>
            <a:ext cx="80772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 descr="yes_logo_wht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2400" y="4196194"/>
            <a:ext cx="1226507" cy="813955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82880" y="48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1200" smtClean="0">
                <a:solidFill>
                  <a:srgbClr val="FFFFFF"/>
                </a:solidFill>
                <a:latin typeface="Raleway"/>
                <a:cs typeface="Raleway"/>
              </a:rPr>
              <a:pPr/>
              <a:t>‹#›</a:t>
            </a:fld>
            <a:endParaRPr lang="en-US" sz="1200" dirty="0" smtClean="0">
              <a:solidFill>
                <a:srgbClr val="FFFFFF"/>
              </a:solidFill>
              <a:latin typeface="Raleway"/>
              <a:cs typeface="Raleway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49275" y="2800350"/>
            <a:ext cx="2346325" cy="492443"/>
          </a:xfrm>
        </p:spPr>
        <p:txBody>
          <a:bodyPr/>
          <a:lstStyle>
            <a:lvl1pPr marL="204087" indent="-204087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1pPr>
            <a:lvl2pPr marL="460375" indent="-233363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2pPr>
            <a:lvl3pPr marL="658368" indent="-171450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3pPr>
            <a:lvl4pPr marL="877824" indent="-203200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4pPr>
            <a:lvl5pPr marL="1028700" indent="-142875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861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act (Light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ull_bleed_background_ligh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9050"/>
            <a:ext cx="9164290" cy="516255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548640" y="1508760"/>
            <a:ext cx="80772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82880" y="48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1200" smtClean="0">
                <a:solidFill>
                  <a:srgbClr val="000000"/>
                </a:solidFill>
                <a:latin typeface="Raleway"/>
                <a:cs typeface="Raleway"/>
              </a:rPr>
              <a:pPr/>
              <a:t>‹#›</a:t>
            </a:fld>
            <a:endParaRPr lang="en-US" sz="1200" dirty="0" smtClean="0">
              <a:solidFill>
                <a:srgbClr val="000000"/>
              </a:solidFill>
              <a:latin typeface="Raleway"/>
              <a:cs typeface="Raleway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5866" y="4171950"/>
            <a:ext cx="126304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22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Img Left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800600" y="2032922"/>
            <a:ext cx="3733800" cy="935641"/>
          </a:xfrm>
          <a:effectLst/>
        </p:spPr>
        <p:txBody>
          <a:bodyPr anchor="ctr" anchorCtr="0"/>
          <a:lstStyle>
            <a:lvl1pPr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419600" cy="514349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65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57200" y="1200150"/>
            <a:ext cx="7955281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821099"/>
            <a:ext cx="1600200" cy="112851"/>
          </a:xfrm>
        </p:spPr>
        <p:txBody>
          <a:bodyPr/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r>
              <a:rPr lang="en-US" dirty="0" smtClean="0"/>
              <a:t>Cite source here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2362200" y="1581150"/>
            <a:ext cx="6172201" cy="3352800"/>
          </a:xfrm>
        </p:spPr>
        <p:txBody>
          <a:bodyPr/>
          <a:lstStyle>
            <a:lvl1pPr marL="0" indent="0">
              <a:buNone/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dirty="0" smtClean="0"/>
              <a:t>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98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HL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61436"/>
            <a:ext cx="7650480" cy="914914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219200" y="1657350"/>
            <a:ext cx="2971800" cy="2286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3000" y="1657350"/>
            <a:ext cx="2971800" cy="2286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657350"/>
            <a:ext cx="0" cy="228600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9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310500"/>
            <a:ext cx="3872866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80" y="1310500"/>
            <a:ext cx="3778797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457200" y="1724570"/>
            <a:ext cx="3873608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724570"/>
            <a:ext cx="3779521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03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+ 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94760"/>
            <a:ext cx="3688080" cy="767390"/>
          </a:xfrm>
        </p:spPr>
        <p:txBody>
          <a:bodyPr wrap="square">
            <a:spAutoFit/>
          </a:bodyPr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600">
                <a:solidFill>
                  <a:srgbClr val="414141"/>
                </a:solidFill>
              </a:defRPr>
            </a:lvl2pPr>
            <a:lvl3pPr marL="658368" indent="-173736">
              <a:defRPr sz="1400">
                <a:solidFill>
                  <a:srgbClr val="41414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194760"/>
            <a:ext cx="3581399" cy="68736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>
                <a:solidFill>
                  <a:srgbClr val="414141"/>
                </a:solidFill>
              </a:defRPr>
            </a:lvl1pPr>
            <a:lvl2pPr>
              <a:defRPr lang="en-US" dirty="0" smtClean="0">
                <a:solidFill>
                  <a:srgbClr val="414141"/>
                </a:solidFill>
              </a:defRPr>
            </a:lvl2pPr>
            <a:lvl3pPr>
              <a:defRPr lang="en-US" dirty="0" smtClean="0"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572000" y="1200150"/>
            <a:ext cx="0" cy="342900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/>
          <p:nvPr userDrawn="1"/>
        </p:nvCxnSpPr>
        <p:spPr bwMode="auto">
          <a:xfrm>
            <a:off x="457200" y="2726581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Content Placeholder 2"/>
          <p:cNvSpPr>
            <a:spLocks noGrp="1"/>
          </p:cNvSpPr>
          <p:nvPr>
            <p:ph sz="half" idx="10"/>
          </p:nvPr>
        </p:nvSpPr>
        <p:spPr>
          <a:xfrm>
            <a:off x="457200" y="3023560"/>
            <a:ext cx="3688080" cy="767390"/>
          </a:xfrm>
        </p:spPr>
        <p:txBody>
          <a:bodyPr wrap="square">
            <a:spAutoFit/>
          </a:bodyPr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600">
                <a:solidFill>
                  <a:srgbClr val="414141"/>
                </a:solidFill>
              </a:defRPr>
            </a:lvl2pPr>
            <a:lvl3pPr marL="658368" indent="-173736">
              <a:defRPr sz="1400">
                <a:solidFill>
                  <a:srgbClr val="41414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1"/>
          </p:nvPr>
        </p:nvSpPr>
        <p:spPr>
          <a:xfrm>
            <a:off x="4953000" y="3028950"/>
            <a:ext cx="3688080" cy="767390"/>
          </a:xfrm>
        </p:spPr>
        <p:txBody>
          <a:bodyPr wrap="square">
            <a:spAutoFit/>
          </a:bodyPr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600">
                <a:solidFill>
                  <a:srgbClr val="414141"/>
                </a:solidFill>
              </a:defRPr>
            </a:lvl2pPr>
            <a:lvl3pPr marL="658368" indent="-173736">
              <a:defRPr sz="1400">
                <a:solidFill>
                  <a:srgbClr val="41414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64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(w/ Ru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57200" y="971550"/>
            <a:ext cx="8001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77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61950"/>
            <a:ext cx="7315200" cy="430887"/>
          </a:xfrm>
        </p:spPr>
        <p:txBody>
          <a:bodyPr/>
          <a:lstStyle>
            <a:lvl1pPr marL="0" indent="0">
              <a:buNone/>
              <a:defRPr sz="2800">
                <a:latin typeface="Raleway Light"/>
                <a:cs typeface="Raleway Ligh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24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236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horse + Img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7"/>
          <p:cNvSpPr>
            <a:spLocks noGrp="1"/>
          </p:cNvSpPr>
          <p:nvPr>
            <p:ph idx="11"/>
          </p:nvPr>
        </p:nvSpPr>
        <p:spPr>
          <a:xfrm>
            <a:off x="457200" y="1463040"/>
            <a:ext cx="4102208" cy="32423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>
                <a:solidFill>
                  <a:srgbClr val="414141"/>
                </a:solidFill>
              </a:rPr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4953000" y="0"/>
            <a:ext cx="4191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4108705" cy="91973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4705350"/>
            <a:ext cx="536028" cy="355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74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(Photo)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-19050"/>
            <a:ext cx="9144000" cy="369975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8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453764" y="4364093"/>
            <a:ext cx="6227064" cy="169277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453764" y="4539151"/>
            <a:ext cx="6227064" cy="1692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rgbClr val="41414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53763" y="3975275"/>
            <a:ext cx="6251837" cy="269304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6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(Green)">
    <p:bg>
      <p:bgPr>
        <a:solidFill>
          <a:srgbClr val="54B9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0473" cy="5143499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1"/>
          </p:nvPr>
        </p:nvSpPr>
        <p:spPr bwMode="black">
          <a:xfrm>
            <a:off x="542544" y="3432497"/>
            <a:ext cx="3800856" cy="2539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33400" y="2419350"/>
            <a:ext cx="5867400" cy="430887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1pPr>
            <a:lvl2pPr marL="227012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2pPr>
            <a:lvl3pPr marL="486918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3pPr>
            <a:lvl4pPr marL="674624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4pPr>
            <a:lvl5pPr marL="885825" indent="0">
              <a:buNone/>
              <a:defRPr sz="2800">
                <a:solidFill>
                  <a:schemeClr val="bg1"/>
                </a:solidFill>
                <a:latin typeface="Raleway Light"/>
                <a:cs typeface="Raleway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/>
          </p:nvPr>
        </p:nvSpPr>
        <p:spPr bwMode="black">
          <a:xfrm>
            <a:off x="542544" y="3105150"/>
            <a:ext cx="38008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Raleway SemiBold"/>
                <a:cs typeface="Raleway SemiBold"/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88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orkhorse + Img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3035808" y="1828800"/>
            <a:ext cx="5486400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34380" y="365760"/>
            <a:ext cx="5498658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034381" y="1371600"/>
            <a:ext cx="5498658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2667000" cy="514807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64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horse + Bkg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57200" y="1876970"/>
            <a:ext cx="8107681" cy="770980"/>
          </a:xfrm>
        </p:spPr>
        <p:txBody>
          <a:bodyPr/>
          <a:lstStyle>
            <a:lvl1pPr>
              <a:defRPr>
                <a:solidFill>
                  <a:srgbClr val="414141"/>
                </a:solidFill>
              </a:defRPr>
            </a:lvl1pPr>
            <a:lvl2pPr>
              <a:defRPr>
                <a:solidFill>
                  <a:srgbClr val="414141"/>
                </a:solidFill>
              </a:defRPr>
            </a:lvl2pPr>
            <a:lvl3pPr>
              <a:defRPr>
                <a:solidFill>
                  <a:srgbClr val="41414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365760"/>
            <a:ext cx="8107681" cy="377026"/>
          </a:xfrm>
        </p:spPr>
        <p:txBody>
          <a:bodyPr wrap="square">
            <a:spAutoFit/>
          </a:bodyPr>
          <a:lstStyle>
            <a:lvl1pPr>
              <a:defRPr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57200" y="1371600"/>
            <a:ext cx="8107681" cy="253916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414141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343400" y="1043519"/>
            <a:ext cx="4800600" cy="409998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4183" cy="2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96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act (Dark)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ull_bleed_background_dar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548640" y="1510039"/>
            <a:ext cx="80772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 descr="yes_logo_wht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2400" y="4196194"/>
            <a:ext cx="1226507" cy="813955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82880" y="48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1200" b="0" i="0" smtClean="0">
                <a:solidFill>
                  <a:schemeClr val="bg1"/>
                </a:solidFill>
                <a:latin typeface="Raleway"/>
                <a:cs typeface="Raleway"/>
              </a:rPr>
              <a:pPr algn="l"/>
              <a:t>‹#›</a:t>
            </a:fld>
            <a:endParaRPr lang="en-US" sz="1200" b="0" i="0" dirty="0" smtClean="0">
              <a:solidFill>
                <a:schemeClr val="bg1"/>
              </a:solidFill>
              <a:latin typeface="Raleway"/>
              <a:cs typeface="Raleway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49275" y="2800350"/>
            <a:ext cx="2346325" cy="492443"/>
          </a:xfrm>
        </p:spPr>
        <p:txBody>
          <a:bodyPr/>
          <a:lstStyle>
            <a:lvl1pPr marL="204087" indent="-204087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1pPr>
            <a:lvl2pPr marL="460375" indent="-233363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2pPr>
            <a:lvl3pPr marL="658368" indent="-171450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3pPr>
            <a:lvl4pPr marL="877824" indent="-203200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4pPr>
            <a:lvl5pPr marL="1028700" indent="-142875">
              <a:buFont typeface="Arial" panose="020B0604020202020204" pitchFamily="34" charset="0"/>
              <a:buChar char="‒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5281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4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514729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" y="1280160"/>
            <a:ext cx="8106156" cy="1220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7200" y="365760"/>
            <a:ext cx="810768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182880" y="48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1200" b="0" i="0" smtClean="0">
                <a:solidFill>
                  <a:schemeClr val="bg2"/>
                </a:solidFill>
                <a:latin typeface="Raleway"/>
                <a:cs typeface="Raleway"/>
              </a:rPr>
              <a:pPr algn="l"/>
              <a:t>‹#›</a:t>
            </a:fld>
            <a:endParaRPr lang="en-US" sz="1200" b="0" i="0" dirty="0" smtClean="0">
              <a:solidFill>
                <a:schemeClr val="bg2"/>
              </a:solidFill>
              <a:latin typeface="Raleway"/>
              <a:cs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4019140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1" r:id="rId1"/>
    <p:sldLayoutId id="2147484033" r:id="rId2"/>
    <p:sldLayoutId id="2147484110" r:id="rId3"/>
    <p:sldLayoutId id="2147484038" r:id="rId4"/>
    <p:sldLayoutId id="2147484022" r:id="rId5"/>
    <p:sldLayoutId id="2147484139" r:id="rId6"/>
    <p:sldLayoutId id="2147484025" r:id="rId7"/>
    <p:sldLayoutId id="2147484024" r:id="rId8"/>
    <p:sldLayoutId id="2147484112" r:id="rId9"/>
    <p:sldLayoutId id="2147484132" r:id="rId10"/>
    <p:sldLayoutId id="2147484030" r:id="rId11"/>
    <p:sldLayoutId id="2147484137" r:id="rId12"/>
    <p:sldLayoutId id="2147484138" r:id="rId13"/>
    <p:sldLayoutId id="2147484026" r:id="rId14"/>
    <p:sldLayoutId id="2147484028" r:id="rId15"/>
    <p:sldLayoutId id="2147484113" r:id="rId16"/>
    <p:sldLayoutId id="2147484085" r:id="rId17"/>
    <p:sldLayoutId id="2147484029" r:id="rId18"/>
    <p:sldLayoutId id="2147484133" r:id="rId19"/>
    <p:sldLayoutId id="2147484140" r:id="rId20"/>
    <p:sldLayoutId id="2147484183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ts val="200"/>
        </a:spcAft>
        <a:defRPr sz="2800" b="0" spc="0">
          <a:solidFill>
            <a:srgbClr val="414141"/>
          </a:solidFill>
          <a:latin typeface="Raleway Light"/>
          <a:ea typeface="+mj-ea"/>
          <a:cs typeface="Raleway Light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10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600">
          <a:solidFill>
            <a:srgbClr val="414141"/>
          </a:solidFill>
          <a:latin typeface="Raleway"/>
          <a:ea typeface="+mn-ea"/>
          <a:cs typeface="+mn-cs"/>
        </a:defRPr>
      </a:lvl1pPr>
      <a:lvl2pPr marL="460375" indent="-23336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400">
          <a:solidFill>
            <a:srgbClr val="414141"/>
          </a:solidFill>
          <a:latin typeface="Raleway"/>
        </a:defRPr>
      </a:lvl2pPr>
      <a:lvl3pPr marL="658368" indent="-17145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200">
          <a:solidFill>
            <a:srgbClr val="414141"/>
          </a:solidFill>
          <a:latin typeface="Raleway"/>
        </a:defRPr>
      </a:lvl3pPr>
      <a:lvl4pPr marL="877824" indent="-2032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200">
          <a:solidFill>
            <a:srgbClr val="414141"/>
          </a:solidFill>
          <a:latin typeface="Raleway"/>
        </a:defRPr>
      </a:lvl4pPr>
      <a:lvl5pPr marL="1028700" indent="-142875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200">
          <a:solidFill>
            <a:srgbClr val="414141"/>
          </a:solidFill>
          <a:latin typeface="Raleway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" y="1280160"/>
            <a:ext cx="8106156" cy="1220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7200" y="365760"/>
            <a:ext cx="810768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182880" y="48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1200" smtClean="0">
                <a:solidFill>
                  <a:srgbClr val="A9A9A9"/>
                </a:solidFill>
                <a:latin typeface="Raleway"/>
                <a:cs typeface="Raleway"/>
              </a:rPr>
              <a:pPr/>
              <a:t>‹#›</a:t>
            </a:fld>
            <a:endParaRPr lang="en-US" sz="1200" dirty="0" smtClean="0">
              <a:solidFill>
                <a:srgbClr val="A9A9A9"/>
              </a:solidFill>
              <a:latin typeface="Raleway"/>
              <a:cs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2731862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  <p:sldLayoutId id="2147484153" r:id="rId12"/>
    <p:sldLayoutId id="2147484154" r:id="rId13"/>
    <p:sldLayoutId id="2147484155" r:id="rId14"/>
    <p:sldLayoutId id="2147484156" r:id="rId15"/>
    <p:sldLayoutId id="2147484157" r:id="rId16"/>
    <p:sldLayoutId id="2147484158" r:id="rId17"/>
    <p:sldLayoutId id="2147484159" r:id="rId18"/>
    <p:sldLayoutId id="2147484160" r:id="rId19"/>
    <p:sldLayoutId id="2147484161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ts val="200"/>
        </a:spcAft>
        <a:defRPr sz="2800" b="0" spc="0">
          <a:solidFill>
            <a:srgbClr val="414141"/>
          </a:solidFill>
          <a:latin typeface="Raleway Light"/>
          <a:ea typeface="+mj-ea"/>
          <a:cs typeface="Raleway Light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10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600">
          <a:solidFill>
            <a:srgbClr val="414141"/>
          </a:solidFill>
          <a:latin typeface="Raleway"/>
          <a:ea typeface="+mn-ea"/>
          <a:cs typeface="+mn-cs"/>
        </a:defRPr>
      </a:lvl1pPr>
      <a:lvl2pPr marL="460375" indent="-23336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400">
          <a:solidFill>
            <a:srgbClr val="414141"/>
          </a:solidFill>
          <a:latin typeface="Raleway"/>
        </a:defRPr>
      </a:lvl2pPr>
      <a:lvl3pPr marL="658368" indent="-17145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200">
          <a:solidFill>
            <a:srgbClr val="414141"/>
          </a:solidFill>
          <a:latin typeface="Raleway"/>
        </a:defRPr>
      </a:lvl3pPr>
      <a:lvl4pPr marL="877824" indent="-2032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200">
          <a:solidFill>
            <a:srgbClr val="414141"/>
          </a:solidFill>
          <a:latin typeface="Raleway"/>
        </a:defRPr>
      </a:lvl4pPr>
      <a:lvl5pPr marL="1028700" indent="-142875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200">
          <a:solidFill>
            <a:srgbClr val="414141"/>
          </a:solidFill>
          <a:latin typeface="Raleway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922567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0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" y="1280160"/>
            <a:ext cx="8106156" cy="1220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7200" y="365760"/>
            <a:ext cx="810768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182880" y="48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1200" smtClean="0">
                <a:solidFill>
                  <a:srgbClr val="A9A9A9"/>
                </a:solidFill>
                <a:latin typeface="Raleway"/>
                <a:cs typeface="Raleway"/>
              </a:rPr>
              <a:pPr/>
              <a:t>‹#›</a:t>
            </a:fld>
            <a:endParaRPr lang="en-US" sz="1200" dirty="0" smtClean="0">
              <a:solidFill>
                <a:srgbClr val="A9A9A9"/>
              </a:solidFill>
              <a:latin typeface="Raleway"/>
              <a:cs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2591310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  <p:sldLayoutId id="2147484166" r:id="rId4"/>
    <p:sldLayoutId id="2147484167" r:id="rId5"/>
    <p:sldLayoutId id="2147484168" r:id="rId6"/>
    <p:sldLayoutId id="2147484169" r:id="rId7"/>
    <p:sldLayoutId id="2147484170" r:id="rId8"/>
    <p:sldLayoutId id="2147484171" r:id="rId9"/>
    <p:sldLayoutId id="2147484172" r:id="rId10"/>
    <p:sldLayoutId id="2147484173" r:id="rId11"/>
    <p:sldLayoutId id="2147484174" r:id="rId12"/>
    <p:sldLayoutId id="2147484175" r:id="rId13"/>
    <p:sldLayoutId id="2147484176" r:id="rId14"/>
    <p:sldLayoutId id="2147484177" r:id="rId15"/>
    <p:sldLayoutId id="2147484178" r:id="rId16"/>
    <p:sldLayoutId id="2147484179" r:id="rId17"/>
    <p:sldLayoutId id="2147484180" r:id="rId18"/>
    <p:sldLayoutId id="2147484181" r:id="rId19"/>
    <p:sldLayoutId id="2147484182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ts val="200"/>
        </a:spcAft>
        <a:defRPr sz="2800" b="0" spc="0">
          <a:solidFill>
            <a:srgbClr val="414141"/>
          </a:solidFill>
          <a:latin typeface="Raleway Light"/>
          <a:ea typeface="+mj-ea"/>
          <a:cs typeface="Raleway Light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10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600">
          <a:solidFill>
            <a:srgbClr val="414141"/>
          </a:solidFill>
          <a:latin typeface="Raleway"/>
          <a:ea typeface="+mn-ea"/>
          <a:cs typeface="+mn-cs"/>
        </a:defRPr>
      </a:lvl1pPr>
      <a:lvl2pPr marL="460375" indent="-23336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400">
          <a:solidFill>
            <a:srgbClr val="414141"/>
          </a:solidFill>
          <a:latin typeface="Raleway"/>
        </a:defRPr>
      </a:lvl2pPr>
      <a:lvl3pPr marL="658368" indent="-17145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200">
          <a:solidFill>
            <a:srgbClr val="414141"/>
          </a:solidFill>
          <a:latin typeface="Raleway"/>
        </a:defRPr>
      </a:lvl3pPr>
      <a:lvl4pPr marL="877824" indent="-2032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200">
          <a:solidFill>
            <a:srgbClr val="414141"/>
          </a:solidFill>
          <a:latin typeface="Raleway"/>
        </a:defRPr>
      </a:lvl4pPr>
      <a:lvl5pPr marL="1028700" indent="-142875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200">
          <a:solidFill>
            <a:srgbClr val="414141"/>
          </a:solidFill>
          <a:latin typeface="Raleway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4.jp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hyperlink" Target="https://narvar.com/tracking/logitech/narvar-speedee?tracking_numbers=1Z12345E0390515214" TargetMode="External"/><Relationship Id="rId9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41.jp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2.png"/><Relationship Id="rId5" Type="http://schemas.openxmlformats.org/officeDocument/2006/relationships/image" Target="../media/image35.png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5.jp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7.png"/><Relationship Id="rId5" Type="http://schemas.openxmlformats.org/officeDocument/2006/relationships/image" Target="../media/image35.png"/><Relationship Id="rId4" Type="http://schemas.openxmlformats.org/officeDocument/2006/relationships/hyperlink" Target="https://narvar.com/tracking/logitechg/narvar-speedee?tracking_numbers=1Z12345E0390515214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7.jp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Relationship Id="rId6" Type="http://schemas.openxmlformats.org/officeDocument/2006/relationships/hyperlink" Target="https://narvar.com/tracking/jaybirdsport/narvar-speedee?tracking_numbers=1Z12345E0390515214" TargetMode="External"/><Relationship Id="rId5" Type="http://schemas.openxmlformats.org/officeDocument/2006/relationships/image" Target="../media/image48.png"/><Relationship Id="rId4" Type="http://schemas.openxmlformats.org/officeDocument/2006/relationships/image" Target="../media/image35.png"/><Relationship Id="rId9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51.jp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0.png"/><Relationship Id="rId5" Type="http://schemas.openxmlformats.org/officeDocument/2006/relationships/image" Target="../media/image35.png"/><Relationship Id="rId4" Type="http://schemas.openxmlformats.org/officeDocument/2006/relationships/hyperlink" Target="https://narvar.com/tracking/ultimateears/narvar-speedee?tracking_numbers=1Z12345E0390515214" TargetMode="External"/><Relationship Id="rId9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 sz="quarter"/>
          </p:nvPr>
        </p:nvSpPr>
        <p:spPr>
          <a:xfrm>
            <a:off x="381000" y="3790950"/>
            <a:ext cx="7467600" cy="7386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400" dirty="0" smtClean="0"/>
              <a:t>Logitech Project Orbit: Transactional </a:t>
            </a:r>
            <a:r>
              <a:rPr lang="en-US" sz="2400" dirty="0" smtClean="0"/>
              <a:t>Template</a:t>
            </a:r>
            <a:r>
              <a:rPr lang="en-US" sz="2400" dirty="0" smtClean="0"/>
              <a:t> </a:t>
            </a:r>
            <a:r>
              <a:rPr lang="en-US" sz="2400" dirty="0" smtClean="0"/>
              <a:t>Brief</a:t>
            </a:r>
            <a:endParaRPr lang="en-US" sz="2400" dirty="0"/>
          </a:p>
        </p:txBody>
      </p:sp>
      <p:sp>
        <p:nvSpPr>
          <p:cNvPr id="6" name="Subtitle 5"/>
          <p:cNvSpPr>
            <a:spLocks noGrp="1"/>
          </p:cNvSpPr>
          <p:nvPr>
            <p:ph type="subTitle" sz="quarter" idx="1"/>
          </p:nvPr>
        </p:nvSpPr>
        <p:spPr>
          <a:xfrm>
            <a:off x="381000" y="4629150"/>
            <a:ext cx="6227064" cy="184666"/>
          </a:xfrm>
        </p:spPr>
        <p:txBody>
          <a:bodyPr/>
          <a:lstStyle/>
          <a:p>
            <a:r>
              <a:rPr lang="en-US" dirty="0" smtClean="0"/>
              <a:t>Yes Marketing </a:t>
            </a:r>
            <a:r>
              <a:rPr lang="en-US" b="0" dirty="0" smtClean="0"/>
              <a:t>|  12/7/2018</a:t>
            </a:r>
            <a:endParaRPr lang="en-US" b="0" dirty="0"/>
          </a:p>
        </p:txBody>
      </p:sp>
      <p:pic>
        <p:nvPicPr>
          <p:cNvPr id="15" name="Picture Placeholder 14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32" r="11532"/>
          <a:stretch>
            <a:fillRect/>
          </a:stretch>
        </p:blipFill>
        <p:spPr/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0"/>
            <a:ext cx="1521801" cy="127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618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4800600" y="2296070"/>
            <a:ext cx="3733800" cy="409343"/>
          </a:xfrm>
        </p:spPr>
        <p:txBody>
          <a:bodyPr/>
          <a:lstStyle/>
          <a:p>
            <a:pPr lvl="0"/>
            <a:r>
              <a:rPr lang="en-US" sz="2800" dirty="0" smtClean="0"/>
              <a:t>Design Inspiration</a:t>
            </a:r>
            <a:endParaRPr lang="en-US" sz="2800" dirty="0"/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33" r="2583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7870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Bracket 2"/>
          <p:cNvSpPr/>
          <p:nvPr/>
        </p:nvSpPr>
        <p:spPr bwMode="auto">
          <a:xfrm flipH="1">
            <a:off x="2888974" y="223837"/>
            <a:ext cx="114104" cy="2157413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6152" name="Picture 8" descr="@outdoorvoices sent this email with the subject line: Your Order Has Shipped! - Read about this email and find more alert emails at ReallyGoodEmails.com #alert #fashi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985" y="223837"/>
            <a:ext cx="2756015" cy="431482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https://reallygoodemails.com/wp-content/uploads/2015/02/Shipment-Notification_680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53"/>
          <a:stretch/>
        </p:blipFill>
        <p:spPr bwMode="auto">
          <a:xfrm>
            <a:off x="3076456" y="20402"/>
            <a:ext cx="2638544" cy="498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ight Bracket 5"/>
          <p:cNvSpPr/>
          <p:nvPr/>
        </p:nvSpPr>
        <p:spPr bwMode="auto">
          <a:xfrm flipH="1">
            <a:off x="2888974" y="2494874"/>
            <a:ext cx="114104" cy="1372276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7" name="Right Bracket 6"/>
          <p:cNvSpPr/>
          <p:nvPr/>
        </p:nvSpPr>
        <p:spPr bwMode="auto">
          <a:xfrm flipH="1">
            <a:off x="2888974" y="3943350"/>
            <a:ext cx="114104" cy="762000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298174" y="1772326"/>
            <a:ext cx="2438400" cy="1485900"/>
          </a:xfrm>
          <a:prstGeom prst="rect">
            <a:avLst/>
          </a:prstGeom>
        </p:spPr>
        <p:txBody>
          <a:bodyPr/>
          <a:lstStyle>
            <a:lvl1pPr marL="204087" indent="-204087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charset="0"/>
              <a:buChar char="•"/>
              <a:defRPr sz="1600">
                <a:solidFill>
                  <a:srgbClr val="414141"/>
                </a:solidFill>
                <a:latin typeface="Raleway"/>
                <a:ea typeface="+mn-ea"/>
                <a:cs typeface="+mn-cs"/>
              </a:defRPr>
            </a:lvl1pPr>
            <a:lvl2pPr marL="460375" indent="-233363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–"/>
              <a:defRPr sz="1400">
                <a:solidFill>
                  <a:srgbClr val="414141"/>
                </a:solidFill>
                <a:latin typeface="Raleway"/>
              </a:defRPr>
            </a:lvl2pPr>
            <a:lvl3pPr marL="658368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•"/>
              <a:defRPr sz="1200">
                <a:solidFill>
                  <a:srgbClr val="414141"/>
                </a:solidFill>
                <a:latin typeface="Raleway"/>
              </a:defRPr>
            </a:lvl3pPr>
            <a:lvl4pPr marL="877824" indent="-2032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egoe UI" panose="020B0502040204020203" pitchFamily="34" charset="0"/>
              <a:buChar char="–"/>
              <a:defRPr sz="1200">
                <a:solidFill>
                  <a:srgbClr val="414141"/>
                </a:solidFill>
                <a:latin typeface="Raleway"/>
              </a:defRPr>
            </a:lvl4pPr>
            <a:lvl5pPr marL="1028700" indent="-142875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anose="020B0604020202020204" pitchFamily="34" charset="0"/>
              <a:buChar char="•"/>
              <a:tabLst>
                <a:tab pos="1143000" algn="l"/>
              </a:tabLst>
              <a:defRPr sz="1200">
                <a:solidFill>
                  <a:srgbClr val="414141"/>
                </a:solidFill>
                <a:latin typeface="Raleway"/>
              </a:defRPr>
            </a:lvl5pPr>
            <a:lvl6pPr marL="2033781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6pPr>
            <a:lvl7pPr marL="2441954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7pPr>
            <a:lvl8pPr marL="2850128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8pPr>
            <a:lvl9pPr marL="3258303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Clr>
                <a:srgbClr val="A9A9A9"/>
              </a:buClr>
              <a:buNone/>
            </a:pPr>
            <a:r>
              <a:rPr lang="en-US" kern="0" dirty="0"/>
              <a:t>Message H</a:t>
            </a:r>
            <a:r>
              <a:rPr lang="en-US" kern="0" dirty="0" smtClean="0"/>
              <a:t>ierarchy</a:t>
            </a:r>
          </a:p>
          <a:p>
            <a:pPr marL="0" indent="0">
              <a:buClr>
                <a:srgbClr val="A9A9A9"/>
              </a:buClr>
              <a:buNone/>
            </a:pPr>
            <a:r>
              <a:rPr lang="en-US" sz="1400" kern="0" dirty="0" smtClean="0"/>
              <a:t>Quick </a:t>
            </a:r>
            <a:r>
              <a:rPr lang="en-US" sz="1400" kern="0" dirty="0"/>
              <a:t>recognition and concise </a:t>
            </a:r>
            <a:r>
              <a:rPr lang="en-US" sz="1400" kern="0" dirty="0" smtClean="0"/>
              <a:t>message </a:t>
            </a:r>
            <a:r>
              <a:rPr lang="en-US" sz="1400" kern="0" dirty="0"/>
              <a:t>to </a:t>
            </a:r>
            <a:r>
              <a:rPr lang="en-US" sz="1400" kern="0" dirty="0" smtClean="0"/>
              <a:t>give the customer the information they need without having to dig for it</a:t>
            </a:r>
          </a:p>
        </p:txBody>
      </p:sp>
    </p:spTree>
    <p:extLst>
      <p:ext uri="{BB962C8B-B14F-4D97-AF65-F5344CB8AC3E}">
        <p14:creationId xmlns:p14="http://schemas.microsoft.com/office/powerpoint/2010/main" val="154118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4108" y="629161"/>
            <a:ext cx="2151540" cy="382496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047999" y="2800350"/>
            <a:ext cx="1676400" cy="228600"/>
          </a:xfrm>
          <a:prstGeom prst="rect">
            <a:avLst/>
          </a:prstGeom>
          <a:solidFill>
            <a:schemeClr val="bg1">
              <a:alpha val="87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4" r="31286" b="4638"/>
          <a:stretch/>
        </p:blipFill>
        <p:spPr>
          <a:xfrm>
            <a:off x="533400" y="-2159"/>
            <a:ext cx="4562620" cy="5083282"/>
          </a:xfrm>
          <a:prstGeom prst="rect">
            <a:avLst/>
          </a:prstGeom>
        </p:spPr>
      </p:pic>
      <p:sp>
        <p:nvSpPr>
          <p:cNvPr id="9" name="Text Placeholder 2"/>
          <p:cNvSpPr txBox="1">
            <a:spLocks/>
          </p:cNvSpPr>
          <p:nvPr/>
        </p:nvSpPr>
        <p:spPr>
          <a:xfrm>
            <a:off x="360528" y="2024684"/>
            <a:ext cx="2077872" cy="1085850"/>
          </a:xfrm>
          <a:prstGeom prst="rect">
            <a:avLst/>
          </a:prstGeom>
        </p:spPr>
        <p:txBody>
          <a:bodyPr/>
          <a:lstStyle>
            <a:lvl1pPr marL="204087" indent="-204087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charset="0"/>
              <a:buChar char="•"/>
              <a:defRPr sz="1600">
                <a:solidFill>
                  <a:srgbClr val="414141"/>
                </a:solidFill>
                <a:latin typeface="Raleway"/>
                <a:ea typeface="+mn-ea"/>
                <a:cs typeface="+mn-cs"/>
              </a:defRPr>
            </a:lvl1pPr>
            <a:lvl2pPr marL="460375" indent="-233363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–"/>
              <a:defRPr sz="1400">
                <a:solidFill>
                  <a:srgbClr val="414141"/>
                </a:solidFill>
                <a:latin typeface="Raleway"/>
              </a:defRPr>
            </a:lvl2pPr>
            <a:lvl3pPr marL="658368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•"/>
              <a:defRPr sz="1200">
                <a:solidFill>
                  <a:srgbClr val="414141"/>
                </a:solidFill>
                <a:latin typeface="Raleway"/>
              </a:defRPr>
            </a:lvl3pPr>
            <a:lvl4pPr marL="877824" indent="-2032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egoe UI" panose="020B0502040204020203" pitchFamily="34" charset="0"/>
              <a:buChar char="–"/>
              <a:defRPr sz="1200">
                <a:solidFill>
                  <a:srgbClr val="414141"/>
                </a:solidFill>
                <a:latin typeface="Raleway"/>
              </a:defRPr>
            </a:lvl4pPr>
            <a:lvl5pPr marL="1028700" indent="-142875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anose="020B0604020202020204" pitchFamily="34" charset="0"/>
              <a:buChar char="•"/>
              <a:tabLst>
                <a:tab pos="1143000" algn="l"/>
              </a:tabLst>
              <a:defRPr sz="1200">
                <a:solidFill>
                  <a:srgbClr val="414141"/>
                </a:solidFill>
                <a:latin typeface="Raleway"/>
              </a:defRPr>
            </a:lvl5pPr>
            <a:lvl6pPr marL="2033781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6pPr>
            <a:lvl7pPr marL="2441954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7pPr>
            <a:lvl8pPr marL="2850128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8pPr>
            <a:lvl9pPr marL="3258303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Clr>
                <a:srgbClr val="A9A9A9"/>
              </a:buClr>
              <a:buFont typeface="Arial" charset="0"/>
              <a:buNone/>
            </a:pPr>
            <a:r>
              <a:rPr lang="en-US" kern="0" dirty="0" smtClean="0"/>
              <a:t>Progress Bar</a:t>
            </a:r>
          </a:p>
          <a:p>
            <a:pPr marL="0" indent="0">
              <a:buClr>
                <a:srgbClr val="A9A9A9"/>
              </a:buClr>
              <a:buFont typeface="Arial" charset="0"/>
              <a:buNone/>
            </a:pPr>
            <a:r>
              <a:rPr lang="en-US" sz="1400" kern="0" dirty="0" smtClean="0"/>
              <a:t>A visually impactful and simple way to show order status</a:t>
            </a:r>
          </a:p>
        </p:txBody>
      </p:sp>
      <p:sp>
        <p:nvSpPr>
          <p:cNvPr id="7" name="Right Bracket 6"/>
          <p:cNvSpPr/>
          <p:nvPr/>
        </p:nvSpPr>
        <p:spPr bwMode="auto">
          <a:xfrm flipH="1">
            <a:off x="2468880" y="1809750"/>
            <a:ext cx="121920" cy="685800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/>
          <a:srcRect t="-1" b="64076"/>
          <a:stretch/>
        </p:blipFill>
        <p:spPr>
          <a:xfrm>
            <a:off x="5997863" y="118027"/>
            <a:ext cx="2227171" cy="1996523"/>
          </a:xfrm>
          <a:prstGeom prst="rect">
            <a:avLst/>
          </a:prstGeom>
        </p:spPr>
      </p:pic>
      <p:pic>
        <p:nvPicPr>
          <p:cNvPr id="10" name="Picture 2" descr="https://reallygoodemails.com/wp-content/uploads/2015/09/Your-delivery-from-Postmates-General-Store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9" t="3195" r="3686" b="22229"/>
          <a:stretch/>
        </p:blipFill>
        <p:spPr bwMode="auto">
          <a:xfrm>
            <a:off x="5840895" y="2187729"/>
            <a:ext cx="2541105" cy="2938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Bracket 10"/>
          <p:cNvSpPr/>
          <p:nvPr/>
        </p:nvSpPr>
        <p:spPr bwMode="auto">
          <a:xfrm flipH="1" flipV="1">
            <a:off x="5715001" y="3714750"/>
            <a:ext cx="76199" cy="914400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2" name="Right Bracket 11"/>
          <p:cNvSpPr/>
          <p:nvPr/>
        </p:nvSpPr>
        <p:spPr bwMode="auto">
          <a:xfrm flipV="1">
            <a:off x="8293800" y="1352550"/>
            <a:ext cx="66263" cy="457200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68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Bracket 2"/>
          <p:cNvSpPr/>
          <p:nvPr/>
        </p:nvSpPr>
        <p:spPr bwMode="auto">
          <a:xfrm flipH="1">
            <a:off x="3854922" y="132700"/>
            <a:ext cx="107478" cy="838850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347276" y="1800876"/>
            <a:ext cx="3297072" cy="1694740"/>
          </a:xfrm>
          <a:prstGeom prst="rect">
            <a:avLst/>
          </a:prstGeom>
        </p:spPr>
        <p:txBody>
          <a:bodyPr/>
          <a:lstStyle>
            <a:lvl1pPr marL="204087" indent="-204087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charset="0"/>
              <a:buChar char="•"/>
              <a:defRPr sz="1600">
                <a:solidFill>
                  <a:srgbClr val="414141"/>
                </a:solidFill>
                <a:latin typeface="Raleway"/>
                <a:ea typeface="+mn-ea"/>
                <a:cs typeface="+mn-cs"/>
              </a:defRPr>
            </a:lvl1pPr>
            <a:lvl2pPr marL="460375" indent="-233363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–"/>
              <a:defRPr sz="1400">
                <a:solidFill>
                  <a:srgbClr val="414141"/>
                </a:solidFill>
                <a:latin typeface="Raleway"/>
              </a:defRPr>
            </a:lvl2pPr>
            <a:lvl3pPr marL="658368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•"/>
              <a:defRPr sz="1200">
                <a:solidFill>
                  <a:srgbClr val="414141"/>
                </a:solidFill>
                <a:latin typeface="Raleway"/>
              </a:defRPr>
            </a:lvl3pPr>
            <a:lvl4pPr marL="877824" indent="-2032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egoe UI" panose="020B0502040204020203" pitchFamily="34" charset="0"/>
              <a:buChar char="–"/>
              <a:defRPr sz="1200">
                <a:solidFill>
                  <a:srgbClr val="414141"/>
                </a:solidFill>
                <a:latin typeface="Raleway"/>
              </a:defRPr>
            </a:lvl4pPr>
            <a:lvl5pPr marL="1028700" indent="-142875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anose="020B0604020202020204" pitchFamily="34" charset="0"/>
              <a:buChar char="•"/>
              <a:tabLst>
                <a:tab pos="1143000" algn="l"/>
              </a:tabLst>
              <a:defRPr sz="1200">
                <a:solidFill>
                  <a:srgbClr val="414141"/>
                </a:solidFill>
                <a:latin typeface="Raleway"/>
              </a:defRPr>
            </a:lvl5pPr>
            <a:lvl6pPr marL="2033781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6pPr>
            <a:lvl7pPr marL="2441954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7pPr>
            <a:lvl8pPr marL="2850128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8pPr>
            <a:lvl9pPr marL="3258303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Clr>
                <a:srgbClr val="A9A9A9"/>
              </a:buClr>
              <a:buFont typeface="Arial" charset="0"/>
              <a:buNone/>
            </a:pPr>
            <a:r>
              <a:rPr lang="en-US" kern="0" dirty="0" smtClean="0"/>
              <a:t>Bold Use of Color </a:t>
            </a:r>
          </a:p>
          <a:p>
            <a:pPr marL="0" indent="0">
              <a:buClr>
                <a:srgbClr val="A9A9A9"/>
              </a:buClr>
              <a:buFont typeface="Arial" charset="0"/>
              <a:buNone/>
            </a:pPr>
            <a:r>
              <a:rPr lang="en-US" sz="1400" kern="0" dirty="0" smtClean="0"/>
              <a:t>Great tactic to clearly differentiate the brand</a:t>
            </a:r>
          </a:p>
          <a:p>
            <a:pPr marL="0" indent="0">
              <a:buClr>
                <a:srgbClr val="A9A9A9"/>
              </a:buClr>
              <a:buFont typeface="Arial" charset="0"/>
              <a:buNone/>
            </a:pPr>
            <a:r>
              <a:rPr lang="en-US" sz="1400" kern="0" dirty="0" smtClean="0"/>
              <a:t>The use of background color is an effective way to break-up sections of the message   </a:t>
            </a:r>
          </a:p>
        </p:txBody>
      </p:sp>
      <p:pic>
        <p:nvPicPr>
          <p:cNvPr id="6146" name="Picture 2" descr="https://reallygoodemails.com/wp-content/uploads/Today-is-the-da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586084"/>
            <a:ext cx="2373750" cy="4471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s://reallygoodemails.com/wp-content/uploads/business-your-thursday-morning-trip-with-uber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37"/>
          <a:stretch/>
        </p:blipFill>
        <p:spPr bwMode="auto">
          <a:xfrm>
            <a:off x="4038600" y="152993"/>
            <a:ext cx="1524000" cy="49905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ight Bracket 7"/>
          <p:cNvSpPr/>
          <p:nvPr/>
        </p:nvSpPr>
        <p:spPr bwMode="auto">
          <a:xfrm flipH="1">
            <a:off x="3823644" y="2266300"/>
            <a:ext cx="107478" cy="838850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94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Bracket 2"/>
          <p:cNvSpPr/>
          <p:nvPr/>
        </p:nvSpPr>
        <p:spPr bwMode="auto">
          <a:xfrm flipH="1">
            <a:off x="3406538" y="285750"/>
            <a:ext cx="53739" cy="4343400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9218" name="Picture 2" descr="https://reallygoodemails.com/wp-content/uploads/thank-you-for-your-order-r650000650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79"/>
          <a:stretch/>
        </p:blipFill>
        <p:spPr bwMode="auto">
          <a:xfrm>
            <a:off x="3657600" y="54666"/>
            <a:ext cx="1667585" cy="504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s://reallygoodemails.com/wp-content/uploads/your-feet-say-thank-you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5513"/>
            <a:ext cx="1676400" cy="5093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2"/>
          <p:cNvSpPr txBox="1">
            <a:spLocks/>
          </p:cNvSpPr>
          <p:nvPr/>
        </p:nvSpPr>
        <p:spPr>
          <a:xfrm>
            <a:off x="367153" y="1948088"/>
            <a:ext cx="2916073" cy="1257300"/>
          </a:xfrm>
          <a:prstGeom prst="rect">
            <a:avLst/>
          </a:prstGeom>
        </p:spPr>
        <p:txBody>
          <a:bodyPr/>
          <a:lstStyle>
            <a:lvl1pPr marL="204087" indent="-204087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charset="0"/>
              <a:buChar char="•"/>
              <a:defRPr sz="1600">
                <a:solidFill>
                  <a:srgbClr val="414141"/>
                </a:solidFill>
                <a:latin typeface="Raleway"/>
                <a:ea typeface="+mn-ea"/>
                <a:cs typeface="+mn-cs"/>
              </a:defRPr>
            </a:lvl1pPr>
            <a:lvl2pPr marL="460375" indent="-233363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–"/>
              <a:defRPr sz="1400">
                <a:solidFill>
                  <a:srgbClr val="414141"/>
                </a:solidFill>
                <a:latin typeface="Raleway"/>
              </a:defRPr>
            </a:lvl2pPr>
            <a:lvl3pPr marL="658368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•"/>
              <a:defRPr sz="1200">
                <a:solidFill>
                  <a:srgbClr val="414141"/>
                </a:solidFill>
                <a:latin typeface="Raleway"/>
              </a:defRPr>
            </a:lvl3pPr>
            <a:lvl4pPr marL="877824" indent="-2032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egoe UI" panose="020B0502040204020203" pitchFamily="34" charset="0"/>
              <a:buChar char="–"/>
              <a:defRPr sz="1200">
                <a:solidFill>
                  <a:srgbClr val="414141"/>
                </a:solidFill>
                <a:latin typeface="Raleway"/>
              </a:defRPr>
            </a:lvl4pPr>
            <a:lvl5pPr marL="1028700" indent="-142875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anose="020B0604020202020204" pitchFamily="34" charset="0"/>
              <a:buChar char="•"/>
              <a:tabLst>
                <a:tab pos="1143000" algn="l"/>
              </a:tabLst>
              <a:defRPr sz="1200">
                <a:solidFill>
                  <a:srgbClr val="414141"/>
                </a:solidFill>
                <a:latin typeface="Raleway"/>
              </a:defRPr>
            </a:lvl5pPr>
            <a:lvl6pPr marL="2033781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6pPr>
            <a:lvl7pPr marL="2441954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7pPr>
            <a:lvl8pPr marL="2850128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8pPr>
            <a:lvl9pPr marL="3258303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Clr>
                <a:srgbClr val="A9A9A9"/>
              </a:buClr>
              <a:buFont typeface="Arial" charset="0"/>
              <a:buNone/>
            </a:pPr>
            <a:r>
              <a:rPr lang="en-US" kern="0" dirty="0" smtClean="0"/>
              <a:t>Keeping it Simple </a:t>
            </a:r>
          </a:p>
          <a:p>
            <a:pPr marL="0" indent="0">
              <a:buClr>
                <a:srgbClr val="A9A9A9"/>
              </a:buClr>
              <a:buFont typeface="Arial" charset="0"/>
              <a:buNone/>
            </a:pPr>
            <a:r>
              <a:rPr lang="en-US" sz="1400" kern="0" dirty="0" smtClean="0"/>
              <a:t>Only show what is required – let the website provide the additional information to support the transaction </a:t>
            </a:r>
          </a:p>
        </p:txBody>
      </p:sp>
    </p:spTree>
    <p:extLst>
      <p:ext uri="{BB962C8B-B14F-4D97-AF65-F5344CB8AC3E}">
        <p14:creationId xmlns:p14="http://schemas.microsoft.com/office/powerpoint/2010/main" val="399439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Bracket 2"/>
          <p:cNvSpPr/>
          <p:nvPr/>
        </p:nvSpPr>
        <p:spPr bwMode="auto">
          <a:xfrm flipH="1">
            <a:off x="5850289" y="2343150"/>
            <a:ext cx="107478" cy="2667000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360526" y="1736041"/>
            <a:ext cx="2514519" cy="1714500"/>
          </a:xfrm>
          <a:prstGeom prst="rect">
            <a:avLst/>
          </a:prstGeom>
        </p:spPr>
        <p:txBody>
          <a:bodyPr/>
          <a:lstStyle>
            <a:lvl1pPr marL="204087" indent="-204087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charset="0"/>
              <a:buChar char="•"/>
              <a:defRPr sz="1600">
                <a:solidFill>
                  <a:srgbClr val="414141"/>
                </a:solidFill>
                <a:latin typeface="Raleway"/>
                <a:ea typeface="+mn-ea"/>
                <a:cs typeface="+mn-cs"/>
              </a:defRPr>
            </a:lvl1pPr>
            <a:lvl2pPr marL="460375" indent="-233363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–"/>
              <a:defRPr sz="1400">
                <a:solidFill>
                  <a:srgbClr val="414141"/>
                </a:solidFill>
                <a:latin typeface="Raleway"/>
              </a:defRPr>
            </a:lvl2pPr>
            <a:lvl3pPr marL="658368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•"/>
              <a:defRPr sz="1200">
                <a:solidFill>
                  <a:srgbClr val="414141"/>
                </a:solidFill>
                <a:latin typeface="Raleway"/>
              </a:defRPr>
            </a:lvl3pPr>
            <a:lvl4pPr marL="877824" indent="-2032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egoe UI" panose="020B0502040204020203" pitchFamily="34" charset="0"/>
              <a:buChar char="–"/>
              <a:defRPr sz="1200">
                <a:solidFill>
                  <a:srgbClr val="414141"/>
                </a:solidFill>
                <a:latin typeface="Raleway"/>
              </a:defRPr>
            </a:lvl4pPr>
            <a:lvl5pPr marL="1028700" indent="-142875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anose="020B0604020202020204" pitchFamily="34" charset="0"/>
              <a:buChar char="•"/>
              <a:tabLst>
                <a:tab pos="1143000" algn="l"/>
              </a:tabLst>
              <a:defRPr sz="1200">
                <a:solidFill>
                  <a:srgbClr val="414141"/>
                </a:solidFill>
                <a:latin typeface="Raleway"/>
              </a:defRPr>
            </a:lvl5pPr>
            <a:lvl6pPr marL="2033781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6pPr>
            <a:lvl7pPr marL="2441954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7pPr>
            <a:lvl8pPr marL="2850128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8pPr>
            <a:lvl9pPr marL="3258303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Clr>
                <a:srgbClr val="A9A9A9"/>
              </a:buClr>
              <a:buFont typeface="Arial" charset="0"/>
              <a:buNone/>
            </a:pPr>
            <a:r>
              <a:rPr lang="en-US" kern="0" dirty="0" smtClean="0"/>
              <a:t>Added Value </a:t>
            </a:r>
            <a:r>
              <a:rPr lang="en-US" kern="0" dirty="0"/>
              <a:t>C</a:t>
            </a:r>
            <a:r>
              <a:rPr lang="en-US" kern="0" dirty="0" smtClean="0"/>
              <a:t>ontent</a:t>
            </a:r>
          </a:p>
          <a:p>
            <a:pPr marL="0" indent="0">
              <a:buClr>
                <a:srgbClr val="A9A9A9"/>
              </a:buClr>
              <a:buFont typeface="Arial" charset="0"/>
              <a:buNone/>
            </a:pPr>
            <a:r>
              <a:rPr lang="en-US" sz="1400" kern="0" dirty="0" smtClean="0"/>
              <a:t>Increase customer satisfaction and drive incremental sales with strategically placed  content to complement       the transaction </a:t>
            </a:r>
          </a:p>
        </p:txBody>
      </p:sp>
      <p:pic>
        <p:nvPicPr>
          <p:cNvPr id="6148" name="Picture 4" descr="https://reallygoodemails.com/wp-content/uploads/2015/02/Youve-linked-a-new-computer-to-Dropbo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98" t="4722" r="9838" b="8507"/>
          <a:stretch/>
        </p:blipFill>
        <p:spPr bwMode="auto">
          <a:xfrm>
            <a:off x="3045472" y="651841"/>
            <a:ext cx="2517128" cy="338261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8" descr="https://reallygoodemails.com/wp-content/uploads/2014/12/Order-Confirmation-123456789-from-CrateBarrel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435"/>
          <a:stretch/>
        </p:blipFill>
        <p:spPr bwMode="auto">
          <a:xfrm>
            <a:off x="6078889" y="57150"/>
            <a:ext cx="2303111" cy="507228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Bracket 10"/>
          <p:cNvSpPr/>
          <p:nvPr/>
        </p:nvSpPr>
        <p:spPr bwMode="auto">
          <a:xfrm flipH="1">
            <a:off x="2875046" y="2724150"/>
            <a:ext cx="94226" cy="1219200"/>
          </a:xfrm>
          <a:prstGeom prst="rightBracke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05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4800600" y="2296071"/>
            <a:ext cx="3733800" cy="409343"/>
          </a:xfrm>
        </p:spPr>
        <p:txBody>
          <a:bodyPr/>
          <a:lstStyle/>
          <a:p>
            <a:pPr lvl="0"/>
            <a:r>
              <a:rPr lang="en-US" sz="2800" dirty="0" smtClean="0"/>
              <a:t>Next Steps</a:t>
            </a:r>
            <a:endParaRPr lang="en-US" sz="2800" dirty="0"/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39" r="2583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09351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57200" y="1047750"/>
            <a:ext cx="8686800" cy="1241365"/>
          </a:xfrm>
        </p:spPr>
        <p:txBody>
          <a:bodyPr/>
          <a:lstStyle/>
          <a:p>
            <a:r>
              <a:rPr lang="en-US" dirty="0" smtClean="0"/>
              <a:t>Strategy to present transactional brief				12/7</a:t>
            </a:r>
          </a:p>
          <a:p>
            <a:r>
              <a:rPr lang="en-US" dirty="0" smtClean="0"/>
              <a:t>Creative </a:t>
            </a:r>
            <a:r>
              <a:rPr lang="en-US" dirty="0"/>
              <a:t>to present initial </a:t>
            </a:r>
            <a:r>
              <a:rPr lang="en-US" dirty="0" smtClean="0"/>
              <a:t>transactional </a:t>
            </a:r>
            <a:r>
              <a:rPr lang="en-US" dirty="0"/>
              <a:t>wireframes  </a:t>
            </a:r>
            <a:r>
              <a:rPr lang="en-US" dirty="0" smtClean="0"/>
              <a:t>			12/7</a:t>
            </a:r>
            <a:r>
              <a:rPr lang="en-US" dirty="0"/>
              <a:t>             </a:t>
            </a:r>
            <a:endParaRPr lang="en-US" dirty="0" smtClean="0"/>
          </a:p>
          <a:p>
            <a:r>
              <a:rPr lang="en-US" dirty="0" smtClean="0"/>
              <a:t>Review timeline transactional template			 	12/7	</a:t>
            </a:r>
            <a:r>
              <a:rPr lang="en-US" dirty="0"/>
              <a:t>                           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ving Forward</a:t>
            </a:r>
            <a:endParaRPr lang="en-US" i="1" dirty="0"/>
          </a:p>
        </p:txBody>
      </p:sp>
      <p:sp>
        <p:nvSpPr>
          <p:cNvPr id="2" name="TextBox 1"/>
          <p:cNvSpPr txBox="1"/>
          <p:nvPr/>
        </p:nvSpPr>
        <p:spPr>
          <a:xfrm>
            <a:off x="1147474" y="2072132"/>
            <a:ext cx="6393097" cy="433965"/>
          </a:xfrm>
          <a:prstGeom prst="rect">
            <a:avLst/>
          </a:prstGeom>
          <a:noFill/>
        </p:spPr>
        <p:txBody>
          <a:bodyPr wrap="none" tIns="91440" bIns="9144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0000"/>
                </a:solidFill>
                <a:latin typeface="+mn-lt"/>
              </a:rPr>
              <a:t>Sabrina to provide trans timeline/key milestones for client</a:t>
            </a:r>
          </a:p>
        </p:txBody>
      </p:sp>
    </p:spTree>
    <p:extLst>
      <p:ext uri="{BB962C8B-B14F-4D97-AF65-F5344CB8AC3E}">
        <p14:creationId xmlns:p14="http://schemas.microsoft.com/office/powerpoint/2010/main" val="3561917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 sz="quarter"/>
          </p:nvPr>
        </p:nvSpPr>
        <p:spPr>
          <a:xfrm>
            <a:off x="381000" y="4095750"/>
            <a:ext cx="6251837" cy="366254"/>
          </a:xfrm>
        </p:spPr>
        <p:txBody>
          <a:bodyPr/>
          <a:lstStyle/>
          <a:p>
            <a:r>
              <a:rPr lang="en-US" sz="2800" dirty="0" smtClean="0"/>
              <a:t>Thank you!</a:t>
            </a:r>
            <a:endParaRPr lang="en-US" sz="2800" dirty="0"/>
          </a:p>
        </p:txBody>
      </p:sp>
      <p:sp>
        <p:nvSpPr>
          <p:cNvPr id="4" name="Subtitle 12"/>
          <p:cNvSpPr>
            <a:spLocks noGrp="1"/>
          </p:cNvSpPr>
          <p:nvPr>
            <p:ph type="subTitle" sz="quarter" idx="1"/>
          </p:nvPr>
        </p:nvSpPr>
        <p:spPr>
          <a:xfrm>
            <a:off x="406021" y="4552950"/>
            <a:ext cx="6227064" cy="536044"/>
          </a:xfrm>
        </p:spPr>
        <p:txBody>
          <a:bodyPr/>
          <a:lstStyle/>
          <a:p>
            <a:r>
              <a:rPr lang="en-US" dirty="0" smtClean="0"/>
              <a:t>Yes </a:t>
            </a:r>
            <a:r>
              <a:rPr lang="en-US" dirty="0"/>
              <a:t>Marketing |  </a:t>
            </a:r>
            <a:r>
              <a:rPr lang="en-US" b="0" dirty="0" smtClean="0"/>
              <a:t>12/7/2018</a:t>
            </a:r>
            <a:endParaRPr lang="en-US" b="0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0"/>
            <a:ext cx="1521801" cy="1276350"/>
          </a:xfrm>
          <a:prstGeom prst="rect">
            <a:avLst/>
          </a:prstGeom>
        </p:spPr>
      </p:pic>
      <p:pic>
        <p:nvPicPr>
          <p:cNvPr id="23" name="Picture Placeholder 22"/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78" r="24878"/>
          <a:stretch>
            <a:fillRect/>
          </a:stretch>
        </p:blipFill>
        <p:spPr/>
      </p:pic>
      <p:sp>
        <p:nvSpPr>
          <p:cNvPr id="2" name="Rectangle 1"/>
          <p:cNvSpPr/>
          <p:nvPr/>
        </p:nvSpPr>
        <p:spPr>
          <a:xfrm>
            <a:off x="4447607" y="238708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3" name="Rectangle 2"/>
          <p:cNvSpPr/>
          <p:nvPr/>
        </p:nvSpPr>
        <p:spPr>
          <a:xfrm>
            <a:off x="2286000" y="224858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 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15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 sz="quarter"/>
          </p:nvPr>
        </p:nvSpPr>
        <p:spPr>
          <a:xfrm>
            <a:off x="548640" y="1828800"/>
            <a:ext cx="7833360" cy="997196"/>
          </a:xfrm>
        </p:spPr>
        <p:txBody>
          <a:bodyPr/>
          <a:lstStyle/>
          <a:p>
            <a:r>
              <a:rPr lang="en-US" dirty="0" smtClean="0"/>
              <a:t>Narvar Order Tracking Experi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881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047750"/>
            <a:ext cx="6172200" cy="1897955"/>
          </a:xfrm>
        </p:spPr>
        <p:txBody>
          <a:bodyPr/>
          <a:lstStyle/>
          <a:p>
            <a:r>
              <a:rPr lang="en-US" sz="1800" dirty="0" smtClean="0"/>
              <a:t>Overview</a:t>
            </a:r>
          </a:p>
          <a:p>
            <a:r>
              <a:rPr lang="en-US" sz="1800" dirty="0" smtClean="0"/>
              <a:t>Transactional </a:t>
            </a:r>
            <a:r>
              <a:rPr lang="en-US" sz="1800" dirty="0" smtClean="0"/>
              <a:t>Communications </a:t>
            </a:r>
            <a:r>
              <a:rPr lang="en-US" sz="1800" dirty="0" smtClean="0"/>
              <a:t>Architecture</a:t>
            </a:r>
          </a:p>
          <a:p>
            <a:pPr lvl="0"/>
            <a:r>
              <a:rPr lang="en-US" sz="1800" dirty="0" smtClean="0"/>
              <a:t>Design Inspiration</a:t>
            </a:r>
            <a:endParaRPr lang="en-US" sz="1800" dirty="0"/>
          </a:p>
          <a:p>
            <a:pPr lvl="0"/>
            <a:r>
              <a:rPr lang="en-US" sz="1800" dirty="0" smtClean="0"/>
              <a:t>Next Steps</a:t>
            </a:r>
          </a:p>
          <a:p>
            <a:pPr lvl="0"/>
            <a:r>
              <a:rPr lang="en-US" sz="1800" dirty="0" smtClean="0"/>
              <a:t>Appendix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4754880"/>
            <a:ext cx="4133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48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7" name="Google Shape;957;p200"/>
          <p:cNvPicPr preferRelativeResize="0"/>
          <p:nvPr/>
        </p:nvPicPr>
        <p:blipFill rotWithShape="1">
          <a:blip r:embed="rId3">
            <a:alphaModFix/>
          </a:blip>
          <a:srcRect b="8600"/>
          <a:stretch/>
        </p:blipFill>
        <p:spPr>
          <a:xfrm>
            <a:off x="838750" y="565600"/>
            <a:ext cx="6277600" cy="4577902"/>
          </a:xfrm>
          <a:prstGeom prst="rect">
            <a:avLst/>
          </a:prstGeom>
          <a:noFill/>
          <a:ln>
            <a:noFill/>
          </a:ln>
        </p:spPr>
      </p:pic>
      <p:sp>
        <p:nvSpPr>
          <p:cNvPr id="958" name="Google Shape;958;p200"/>
          <p:cNvSpPr txBox="1"/>
          <p:nvPr/>
        </p:nvSpPr>
        <p:spPr>
          <a:xfrm>
            <a:off x="0" y="0"/>
            <a:ext cx="9144000" cy="64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UPGRADE EXPERIENCE </a:t>
            </a:r>
            <a:r>
              <a:rPr lang="en" sz="25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- </a:t>
            </a:r>
            <a:r>
              <a:rPr lang="en" sz="2500" u="sng">
                <a:solidFill>
                  <a:srgbClr val="0000FF"/>
                </a:solidFill>
                <a:latin typeface="Poppins"/>
                <a:ea typeface="Poppins"/>
                <a:cs typeface="Poppins"/>
                <a:sym typeface="Poppins"/>
                <a:hlinkClick r:id="rId4"/>
              </a:rPr>
              <a:t>Logitech</a:t>
            </a:r>
            <a:endParaRPr sz="2500" dirty="0">
              <a:solidFill>
                <a:srgbClr val="0000FF"/>
              </a:solidFill>
            </a:endParaRPr>
          </a:p>
        </p:txBody>
      </p:sp>
      <p:pic>
        <p:nvPicPr>
          <p:cNvPr id="959" name="Google Shape;959;p200"/>
          <p:cNvPicPr preferRelativeResize="0"/>
          <p:nvPr/>
        </p:nvPicPr>
        <p:blipFill rotWithShape="1">
          <a:blip r:embed="rId5">
            <a:alphaModFix/>
          </a:blip>
          <a:srcRect b="12388"/>
          <a:stretch/>
        </p:blipFill>
        <p:spPr>
          <a:xfrm>
            <a:off x="2318088" y="736950"/>
            <a:ext cx="3489525" cy="3220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60" name="Google Shape;960;p20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339725" y="3792950"/>
            <a:ext cx="507250" cy="23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61" name="Google Shape;961;p200"/>
          <p:cNvPicPr preferRelativeResize="0"/>
          <p:nvPr/>
        </p:nvPicPr>
        <p:blipFill rotWithShape="1">
          <a:blip r:embed="rId7">
            <a:alphaModFix/>
          </a:blip>
          <a:srcRect r="51855"/>
          <a:stretch/>
        </p:blipFill>
        <p:spPr>
          <a:xfrm>
            <a:off x="4947425" y="736975"/>
            <a:ext cx="1899548" cy="313375"/>
          </a:xfrm>
          <a:prstGeom prst="rect">
            <a:avLst/>
          </a:prstGeom>
          <a:noFill/>
          <a:ln>
            <a:noFill/>
          </a:ln>
        </p:spPr>
      </p:pic>
      <p:pic>
        <p:nvPicPr>
          <p:cNvPr id="962" name="Google Shape;962;p200"/>
          <p:cNvPicPr preferRelativeResize="0"/>
          <p:nvPr/>
        </p:nvPicPr>
        <p:blipFill rotWithShape="1">
          <a:blip r:embed="rId7">
            <a:alphaModFix/>
          </a:blip>
          <a:srcRect r="51855"/>
          <a:stretch/>
        </p:blipFill>
        <p:spPr>
          <a:xfrm>
            <a:off x="1101350" y="736977"/>
            <a:ext cx="1899548" cy="313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63" name="Google Shape;963;p200"/>
          <p:cNvGrpSpPr/>
          <p:nvPr/>
        </p:nvGrpSpPr>
        <p:grpSpPr>
          <a:xfrm>
            <a:off x="7244850" y="1311875"/>
            <a:ext cx="1699300" cy="2952025"/>
            <a:chOff x="7321050" y="1007075"/>
            <a:chExt cx="1699300" cy="2952025"/>
          </a:xfrm>
        </p:grpSpPr>
        <p:pic>
          <p:nvPicPr>
            <p:cNvPr id="964" name="Google Shape;964;p200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7566725" y="1287400"/>
              <a:ext cx="1303799" cy="251722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65" name="Google Shape;965;p200"/>
            <p:cNvPicPr preferRelativeResize="0"/>
            <p:nvPr/>
          </p:nvPicPr>
          <p:blipFill>
            <a:blip r:embed="rId9">
              <a:alphaModFix/>
            </a:blip>
            <a:stretch>
              <a:fillRect/>
            </a:stretch>
          </p:blipFill>
          <p:spPr>
            <a:xfrm rot="-5400000" flipH="1">
              <a:off x="6694687" y="1633437"/>
              <a:ext cx="2952025" cy="16993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66" name="Google Shape;966;p200"/>
          <p:cNvSpPr txBox="1"/>
          <p:nvPr/>
        </p:nvSpPr>
        <p:spPr>
          <a:xfrm>
            <a:off x="7948700" y="4904700"/>
            <a:ext cx="17790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*Live in US</a:t>
            </a:r>
            <a:endParaRPr sz="1600" dirty="0"/>
          </a:p>
        </p:txBody>
      </p:sp>
    </p:spTree>
    <p:extLst>
      <p:ext uri="{BB962C8B-B14F-4D97-AF65-F5344CB8AC3E}">
        <p14:creationId xmlns:p14="http://schemas.microsoft.com/office/powerpoint/2010/main" val="26155564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1" name="Google Shape;971;p20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29500" y="1573028"/>
            <a:ext cx="1338775" cy="2604948"/>
          </a:xfrm>
          <a:prstGeom prst="rect">
            <a:avLst/>
          </a:prstGeom>
          <a:noFill/>
          <a:ln>
            <a:noFill/>
          </a:ln>
        </p:spPr>
      </p:pic>
      <p:pic>
        <p:nvPicPr>
          <p:cNvPr id="972" name="Google Shape;972;p20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 rot="-5400000" flipH="1">
            <a:off x="6565604" y="2004912"/>
            <a:ext cx="2952025" cy="1699300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201"/>
          <p:cNvSpPr txBox="1"/>
          <p:nvPr/>
        </p:nvSpPr>
        <p:spPr>
          <a:xfrm>
            <a:off x="113539" y="9335"/>
            <a:ext cx="9144000" cy="64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SUPPORT ALL MASTER BRANDS </a:t>
            </a:r>
            <a:r>
              <a:rPr lang="en" sz="25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- Astro Gaming</a:t>
            </a:r>
            <a:endParaRPr sz="2500" dirty="0">
              <a:solidFill>
                <a:schemeClr val="dk1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974" name="Google Shape;974;p201"/>
          <p:cNvPicPr preferRelativeResize="0"/>
          <p:nvPr/>
        </p:nvPicPr>
        <p:blipFill rotWithShape="1">
          <a:blip r:embed="rId5">
            <a:alphaModFix/>
          </a:blip>
          <a:srcRect b="8600"/>
          <a:stretch/>
        </p:blipFill>
        <p:spPr>
          <a:xfrm>
            <a:off x="838750" y="565600"/>
            <a:ext cx="6277600" cy="4577902"/>
          </a:xfrm>
          <a:prstGeom prst="rect">
            <a:avLst/>
          </a:prstGeom>
          <a:noFill/>
          <a:ln>
            <a:noFill/>
          </a:ln>
        </p:spPr>
      </p:pic>
      <p:pic>
        <p:nvPicPr>
          <p:cNvPr id="975" name="Google Shape;975;p201"/>
          <p:cNvPicPr preferRelativeResize="0"/>
          <p:nvPr/>
        </p:nvPicPr>
        <p:blipFill rotWithShape="1">
          <a:blip r:embed="rId6">
            <a:alphaModFix/>
          </a:blip>
          <a:srcRect b="11652"/>
          <a:stretch/>
        </p:blipFill>
        <p:spPr>
          <a:xfrm>
            <a:off x="2201400" y="818150"/>
            <a:ext cx="3248900" cy="3245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976" name="Google Shape;976;p20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347625" y="3792950"/>
            <a:ext cx="447225" cy="223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77" name="Google Shape;977;p201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5274525" y="809125"/>
            <a:ext cx="1581150" cy="27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978" name="Google Shape;978;p201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095551" y="809126"/>
            <a:ext cx="1581150" cy="267700"/>
          </a:xfrm>
          <a:prstGeom prst="rect">
            <a:avLst/>
          </a:prstGeom>
          <a:noFill/>
          <a:ln>
            <a:noFill/>
          </a:ln>
        </p:spPr>
      </p:pic>
      <p:sp>
        <p:nvSpPr>
          <p:cNvPr id="979" name="Google Shape;979;p201"/>
          <p:cNvSpPr txBox="1"/>
          <p:nvPr/>
        </p:nvSpPr>
        <p:spPr>
          <a:xfrm>
            <a:off x="7948700" y="4904700"/>
            <a:ext cx="17790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*Live in US</a:t>
            </a:r>
            <a:endParaRPr sz="1600" dirty="0"/>
          </a:p>
        </p:txBody>
      </p:sp>
    </p:spTree>
    <p:extLst>
      <p:ext uri="{BB962C8B-B14F-4D97-AF65-F5344CB8AC3E}">
        <p14:creationId xmlns:p14="http://schemas.microsoft.com/office/powerpoint/2010/main" val="26921129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4" name="Google Shape;984;p20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17000" y="1572625"/>
            <a:ext cx="1345750" cy="26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85" name="Google Shape;985;p202"/>
          <p:cNvSpPr txBox="1"/>
          <p:nvPr/>
        </p:nvSpPr>
        <p:spPr>
          <a:xfrm>
            <a:off x="113539" y="161735"/>
            <a:ext cx="9144000" cy="64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SUPPORT ALL MASTER BRANDS </a:t>
            </a:r>
            <a:r>
              <a:rPr lang="en" sz="25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- </a:t>
            </a:r>
            <a:r>
              <a:rPr lang="en" sz="2500" u="sng">
                <a:solidFill>
                  <a:srgbClr val="0000FF"/>
                </a:solidFill>
                <a:latin typeface="Poppins"/>
                <a:ea typeface="Poppins"/>
                <a:cs typeface="Poppins"/>
                <a:sym typeface="Poppins"/>
                <a:hlinkClick r:id="rId4"/>
              </a:rPr>
              <a:t>Logitech G</a:t>
            </a:r>
            <a:endParaRPr sz="2500" dirty="0">
              <a:solidFill>
                <a:srgbClr val="0000FF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dirty="0">
              <a:solidFill>
                <a:schemeClr val="dk1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986" name="Google Shape;986;p202"/>
          <p:cNvPicPr preferRelativeResize="0"/>
          <p:nvPr/>
        </p:nvPicPr>
        <p:blipFill rotWithShape="1">
          <a:blip r:embed="rId5">
            <a:alphaModFix/>
          </a:blip>
          <a:srcRect b="8600"/>
          <a:stretch/>
        </p:blipFill>
        <p:spPr>
          <a:xfrm>
            <a:off x="838750" y="565600"/>
            <a:ext cx="6277600" cy="4577902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202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339725" y="3792950"/>
            <a:ext cx="507250" cy="23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88" name="Google Shape;988;p20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 rot="-5400000" flipH="1">
            <a:off x="6547554" y="2004900"/>
            <a:ext cx="2952025" cy="1699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89" name="Google Shape;989;p202"/>
          <p:cNvPicPr preferRelativeResize="0"/>
          <p:nvPr/>
        </p:nvPicPr>
        <p:blipFill rotWithShape="1">
          <a:blip r:embed="rId8">
            <a:alphaModFix/>
          </a:blip>
          <a:srcRect b="14185"/>
          <a:stretch/>
        </p:blipFill>
        <p:spPr>
          <a:xfrm>
            <a:off x="2247275" y="807025"/>
            <a:ext cx="3460550" cy="3224626"/>
          </a:xfrm>
          <a:prstGeom prst="rect">
            <a:avLst/>
          </a:prstGeom>
          <a:noFill/>
          <a:ln>
            <a:noFill/>
          </a:ln>
        </p:spPr>
      </p:pic>
      <p:sp>
        <p:nvSpPr>
          <p:cNvPr id="990" name="Google Shape;990;p202"/>
          <p:cNvSpPr/>
          <p:nvPr/>
        </p:nvSpPr>
        <p:spPr>
          <a:xfrm>
            <a:off x="1104775" y="821025"/>
            <a:ext cx="1177200" cy="25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91" name="Google Shape;991;p202"/>
          <p:cNvSpPr/>
          <p:nvPr/>
        </p:nvSpPr>
        <p:spPr>
          <a:xfrm>
            <a:off x="5669775" y="821025"/>
            <a:ext cx="1221300" cy="25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92" name="Google Shape;992;p202"/>
          <p:cNvSpPr txBox="1"/>
          <p:nvPr/>
        </p:nvSpPr>
        <p:spPr>
          <a:xfrm>
            <a:off x="7948700" y="4904700"/>
            <a:ext cx="17790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*Live in US</a:t>
            </a:r>
            <a:endParaRPr sz="1600" dirty="0"/>
          </a:p>
        </p:txBody>
      </p:sp>
    </p:spTree>
    <p:extLst>
      <p:ext uri="{BB962C8B-B14F-4D97-AF65-F5344CB8AC3E}">
        <p14:creationId xmlns:p14="http://schemas.microsoft.com/office/powerpoint/2010/main" val="38711662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7" name="Google Shape;997;p20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544247" y="1423775"/>
            <a:ext cx="1324527" cy="2580801"/>
          </a:xfrm>
          <a:prstGeom prst="rect">
            <a:avLst/>
          </a:prstGeom>
          <a:noFill/>
          <a:ln>
            <a:noFill/>
          </a:ln>
        </p:spPr>
      </p:pic>
      <p:pic>
        <p:nvPicPr>
          <p:cNvPr id="998" name="Google Shape;998;p203"/>
          <p:cNvPicPr preferRelativeResize="0"/>
          <p:nvPr/>
        </p:nvPicPr>
        <p:blipFill rotWithShape="1">
          <a:blip r:embed="rId4">
            <a:alphaModFix/>
          </a:blip>
          <a:srcRect b="8600"/>
          <a:stretch/>
        </p:blipFill>
        <p:spPr>
          <a:xfrm>
            <a:off x="838750" y="565600"/>
            <a:ext cx="6277600" cy="4577902"/>
          </a:xfrm>
          <a:prstGeom prst="rect">
            <a:avLst/>
          </a:prstGeom>
          <a:noFill/>
          <a:ln>
            <a:noFill/>
          </a:ln>
        </p:spPr>
      </p:pic>
      <p:pic>
        <p:nvPicPr>
          <p:cNvPr id="999" name="Google Shape;999;p203"/>
          <p:cNvPicPr preferRelativeResize="0"/>
          <p:nvPr/>
        </p:nvPicPr>
        <p:blipFill rotWithShape="1">
          <a:blip r:embed="rId5">
            <a:alphaModFix/>
          </a:blip>
          <a:srcRect b="9575"/>
          <a:stretch/>
        </p:blipFill>
        <p:spPr>
          <a:xfrm>
            <a:off x="2004589" y="827174"/>
            <a:ext cx="3775881" cy="3235551"/>
          </a:xfrm>
          <a:prstGeom prst="rect">
            <a:avLst/>
          </a:prstGeom>
          <a:noFill/>
          <a:ln>
            <a:noFill/>
          </a:ln>
        </p:spPr>
      </p:pic>
      <p:sp>
        <p:nvSpPr>
          <p:cNvPr id="1000" name="Google Shape;1000;p203"/>
          <p:cNvSpPr txBox="1"/>
          <p:nvPr/>
        </p:nvSpPr>
        <p:spPr>
          <a:xfrm>
            <a:off x="113539" y="-18739"/>
            <a:ext cx="9144000" cy="64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SUPPORT ALL MASTER BRANDS </a:t>
            </a:r>
            <a:r>
              <a:rPr lang="en" sz="30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-</a:t>
            </a:r>
            <a:r>
              <a:rPr lang="en" sz="30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 </a:t>
            </a:r>
            <a:r>
              <a:rPr lang="en" sz="2500" u="sng">
                <a:solidFill>
                  <a:srgbClr val="0000FF"/>
                </a:solidFill>
                <a:latin typeface="Poppins"/>
                <a:ea typeface="Poppins"/>
                <a:cs typeface="Poppins"/>
                <a:sym typeface="Poppins"/>
                <a:hlinkClick r:id="rId6"/>
              </a:rPr>
              <a:t>Jaybird</a:t>
            </a:r>
            <a:endParaRPr sz="2500" dirty="0">
              <a:solidFill>
                <a:srgbClr val="0000FF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1001" name="Google Shape;1001;p20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 rot="-5400000" flipH="1">
            <a:off x="6681601" y="1833450"/>
            <a:ext cx="2952025" cy="1699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02" name="Google Shape;1002;p20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5333774" y="818150"/>
            <a:ext cx="1522225" cy="297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03" name="Google Shape;1003;p20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100678" y="818150"/>
            <a:ext cx="1522225" cy="297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04" name="Google Shape;1004;p203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294675" y="3755411"/>
            <a:ext cx="481050" cy="249162"/>
          </a:xfrm>
          <a:prstGeom prst="rect">
            <a:avLst/>
          </a:prstGeom>
          <a:noFill/>
          <a:ln>
            <a:noFill/>
          </a:ln>
        </p:spPr>
      </p:pic>
      <p:sp>
        <p:nvSpPr>
          <p:cNvPr id="1005" name="Google Shape;1005;p203"/>
          <p:cNvSpPr txBox="1"/>
          <p:nvPr/>
        </p:nvSpPr>
        <p:spPr>
          <a:xfrm>
            <a:off x="7948700" y="4904700"/>
            <a:ext cx="17790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*Live in US</a:t>
            </a:r>
            <a:endParaRPr sz="1600" dirty="0"/>
          </a:p>
        </p:txBody>
      </p:sp>
    </p:spTree>
    <p:extLst>
      <p:ext uri="{BB962C8B-B14F-4D97-AF65-F5344CB8AC3E}">
        <p14:creationId xmlns:p14="http://schemas.microsoft.com/office/powerpoint/2010/main" val="8634320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3" name="Google Shape;1023;p20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501422" y="1394400"/>
            <a:ext cx="1323751" cy="2569847"/>
          </a:xfrm>
          <a:prstGeom prst="rect">
            <a:avLst/>
          </a:prstGeom>
          <a:noFill/>
          <a:ln>
            <a:noFill/>
          </a:ln>
        </p:spPr>
      </p:pic>
      <p:sp>
        <p:nvSpPr>
          <p:cNvPr id="1024" name="Google Shape;1024;p205"/>
          <p:cNvSpPr txBox="1"/>
          <p:nvPr/>
        </p:nvSpPr>
        <p:spPr>
          <a:xfrm>
            <a:off x="113539" y="-66865"/>
            <a:ext cx="9144000" cy="64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SUPPORT ALL MASTER BRANDS </a:t>
            </a:r>
            <a:r>
              <a:rPr lang="en" sz="25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- </a:t>
            </a:r>
            <a:r>
              <a:rPr lang="en" sz="2500" u="sng">
                <a:solidFill>
                  <a:srgbClr val="0000FF"/>
                </a:solidFill>
                <a:latin typeface="Poppins"/>
                <a:ea typeface="Poppins"/>
                <a:cs typeface="Poppins"/>
                <a:sym typeface="Poppins"/>
                <a:hlinkClick r:id="rId4"/>
              </a:rPr>
              <a:t>Ultimate Ears</a:t>
            </a:r>
            <a:endParaRPr sz="2500" dirty="0">
              <a:solidFill>
                <a:srgbClr val="0000FF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1025" name="Google Shape;1025;p205"/>
          <p:cNvPicPr preferRelativeResize="0"/>
          <p:nvPr/>
        </p:nvPicPr>
        <p:blipFill rotWithShape="1">
          <a:blip r:embed="rId5">
            <a:alphaModFix/>
          </a:blip>
          <a:srcRect b="8600"/>
          <a:stretch/>
        </p:blipFill>
        <p:spPr>
          <a:xfrm>
            <a:off x="838750" y="565600"/>
            <a:ext cx="6277600" cy="45779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Google Shape;1026;p205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 rot="-5400000" flipH="1">
            <a:off x="6639337" y="1802862"/>
            <a:ext cx="2952025" cy="1699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7" name="Google Shape;1027;p205"/>
          <p:cNvPicPr preferRelativeResize="0"/>
          <p:nvPr/>
        </p:nvPicPr>
        <p:blipFill rotWithShape="1">
          <a:blip r:embed="rId7">
            <a:alphaModFix/>
          </a:blip>
          <a:srcRect b="8700"/>
          <a:stretch/>
        </p:blipFill>
        <p:spPr>
          <a:xfrm>
            <a:off x="2199225" y="843724"/>
            <a:ext cx="3309825" cy="32049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8" name="Google Shape;1028;p205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271684" y="3828500"/>
            <a:ext cx="467100" cy="220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9" name="Google Shape;1029;p205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126725" y="843725"/>
            <a:ext cx="1445025" cy="380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0" name="Google Shape;1030;p205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5402950" y="843725"/>
            <a:ext cx="1445025" cy="380500"/>
          </a:xfrm>
          <a:prstGeom prst="rect">
            <a:avLst/>
          </a:prstGeom>
          <a:noFill/>
          <a:ln>
            <a:noFill/>
          </a:ln>
        </p:spPr>
      </p:pic>
      <p:sp>
        <p:nvSpPr>
          <p:cNvPr id="1031" name="Google Shape;1031;p205"/>
          <p:cNvSpPr txBox="1"/>
          <p:nvPr/>
        </p:nvSpPr>
        <p:spPr>
          <a:xfrm>
            <a:off x="7948700" y="4904700"/>
            <a:ext cx="17790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*Live in US</a:t>
            </a:r>
            <a:endParaRPr sz="1600" dirty="0"/>
          </a:p>
        </p:txBody>
      </p:sp>
    </p:spTree>
    <p:extLst>
      <p:ext uri="{BB962C8B-B14F-4D97-AF65-F5344CB8AC3E}">
        <p14:creationId xmlns:p14="http://schemas.microsoft.com/office/powerpoint/2010/main" val="2510635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430887"/>
          </a:xfrm>
        </p:spPr>
        <p:txBody>
          <a:bodyPr/>
          <a:lstStyle/>
          <a:p>
            <a:r>
              <a:rPr lang="en-US" dirty="0" smtClean="0"/>
              <a:t>Project Orbit Overview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idx="10"/>
          </p:nvPr>
        </p:nvSpPr>
        <p:spPr>
          <a:xfrm>
            <a:off x="457200" y="1310500"/>
            <a:ext cx="3872866" cy="276999"/>
          </a:xfrm>
        </p:spPr>
        <p:txBody>
          <a:bodyPr/>
          <a:lstStyle/>
          <a:p>
            <a:r>
              <a:rPr lang="en-US" dirty="0" smtClean="0"/>
              <a:t>The Assignment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idx="11"/>
          </p:nvPr>
        </p:nvSpPr>
        <p:spPr>
          <a:xfrm>
            <a:off x="4754880" y="1310500"/>
            <a:ext cx="3778797" cy="276999"/>
          </a:xfrm>
        </p:spPr>
        <p:txBody>
          <a:bodyPr/>
          <a:lstStyle/>
          <a:p>
            <a:r>
              <a:rPr lang="en-US" dirty="0" smtClean="0"/>
              <a:t>The Audienc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457200" y="1724570"/>
            <a:ext cx="3873608" cy="2821285"/>
          </a:xfrm>
        </p:spPr>
        <p:txBody>
          <a:bodyPr/>
          <a:lstStyle/>
          <a:p>
            <a:r>
              <a:rPr lang="en-US" dirty="0" smtClean="0"/>
              <a:t>Create five new transactional email templates that feels unique to each of the individual master brands:</a:t>
            </a:r>
          </a:p>
          <a:p>
            <a:pPr lvl="1"/>
            <a:r>
              <a:rPr lang="en-US" dirty="0"/>
              <a:t>Logitech</a:t>
            </a:r>
          </a:p>
          <a:p>
            <a:pPr lvl="1"/>
            <a:r>
              <a:rPr lang="en-US" dirty="0"/>
              <a:t>Ultimate Ears</a:t>
            </a:r>
          </a:p>
          <a:p>
            <a:pPr lvl="1"/>
            <a:r>
              <a:rPr lang="en-US" dirty="0"/>
              <a:t>Logitech G</a:t>
            </a:r>
          </a:p>
          <a:p>
            <a:pPr lvl="1"/>
            <a:r>
              <a:rPr lang="en-US" dirty="0"/>
              <a:t>Jaybird</a:t>
            </a:r>
          </a:p>
          <a:p>
            <a:pPr lvl="1"/>
            <a:r>
              <a:rPr lang="en-US" dirty="0" smtClean="0"/>
              <a:t>Astro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4754879" y="1724570"/>
            <a:ext cx="3779521" cy="1831271"/>
          </a:xfrm>
        </p:spPr>
        <p:txBody>
          <a:bodyPr/>
          <a:lstStyle/>
          <a:p>
            <a:r>
              <a:rPr lang="en-US" dirty="0"/>
              <a:t>The transactional emails will be deployed to users who purchased on </a:t>
            </a:r>
            <a:r>
              <a:rPr lang="en-US" dirty="0" smtClean="0"/>
              <a:t>one of the Logitech </a:t>
            </a:r>
            <a:r>
              <a:rPr lang="en-US" dirty="0"/>
              <a:t>master brand </a:t>
            </a:r>
            <a:r>
              <a:rPr lang="en-US" dirty="0" smtClean="0"/>
              <a:t>websites.</a:t>
            </a:r>
            <a:endParaRPr lang="en-US" dirty="0"/>
          </a:p>
          <a:p>
            <a:pPr marL="0" lvl="0" indent="0" eaLnBrk="0" hangingPunct="0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sz="1100" kern="1200" dirty="0" smtClean="0">
              <a:solidFill>
                <a:srgbClr val="303030"/>
              </a:solidFill>
            </a:endParaRPr>
          </a:p>
          <a:p>
            <a:pPr lvl="0" eaLnBrk="0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kern="1200" dirty="0" smtClean="0">
                <a:solidFill>
                  <a:srgbClr val="303030"/>
                </a:solidFill>
              </a:rPr>
              <a:t>Region &amp; Language Consideration</a:t>
            </a:r>
            <a:endParaRPr lang="en-US" kern="1200" dirty="0">
              <a:solidFill>
                <a:srgbClr val="303030"/>
              </a:solidFill>
            </a:endParaRPr>
          </a:p>
          <a:p>
            <a:pPr lvl="1" eaLnBrk="0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kern="1200" dirty="0" smtClean="0">
                <a:solidFill>
                  <a:srgbClr val="303030"/>
                </a:solidFill>
              </a:rPr>
              <a:t>North America, English only is immediate foc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32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4800600" y="1682058"/>
            <a:ext cx="4038600" cy="1637371"/>
          </a:xfrm>
        </p:spPr>
        <p:txBody>
          <a:bodyPr/>
          <a:lstStyle/>
          <a:p>
            <a:pPr lvl="0"/>
            <a:r>
              <a:rPr lang="en-US" sz="2800" dirty="0" smtClean="0"/>
              <a:t>Logitech Transactional Email</a:t>
            </a:r>
            <a:r>
              <a:rPr lang="en-US" sz="2800" dirty="0"/>
              <a:t> </a:t>
            </a:r>
            <a:r>
              <a:rPr lang="en-US" sz="2800" dirty="0" smtClean="0"/>
              <a:t>Communications Architecture</a:t>
            </a:r>
            <a:endParaRPr lang="en-US" sz="2800" dirty="0"/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44" r="2134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8124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36147"/>
            <a:ext cx="7917980" cy="5050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68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 txBox="1">
            <a:spLocks/>
          </p:cNvSpPr>
          <p:nvPr/>
        </p:nvSpPr>
        <p:spPr>
          <a:xfrm>
            <a:off x="431800" y="895350"/>
            <a:ext cx="3166280" cy="3733800"/>
          </a:xfrm>
          <a:prstGeom prst="rect">
            <a:avLst/>
          </a:prstGeom>
        </p:spPr>
        <p:txBody>
          <a:bodyPr/>
          <a:lstStyle>
            <a:lvl1pPr marL="204087" indent="-204087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charset="0"/>
              <a:buChar char="•"/>
              <a:defRPr sz="1600">
                <a:solidFill>
                  <a:srgbClr val="414141"/>
                </a:solidFill>
                <a:latin typeface="Raleway"/>
                <a:ea typeface="+mn-ea"/>
                <a:cs typeface="+mn-cs"/>
              </a:defRPr>
            </a:lvl1pPr>
            <a:lvl2pPr marL="460375" indent="-233363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–"/>
              <a:defRPr sz="1400">
                <a:solidFill>
                  <a:srgbClr val="414141"/>
                </a:solidFill>
                <a:latin typeface="Raleway"/>
              </a:defRPr>
            </a:lvl2pPr>
            <a:lvl3pPr marL="658368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•"/>
              <a:defRPr sz="1200">
                <a:solidFill>
                  <a:srgbClr val="414141"/>
                </a:solidFill>
                <a:latin typeface="Raleway"/>
              </a:defRPr>
            </a:lvl3pPr>
            <a:lvl4pPr marL="877824" indent="-2032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egoe UI" panose="020B0502040204020203" pitchFamily="34" charset="0"/>
              <a:buChar char="–"/>
              <a:defRPr sz="1200">
                <a:solidFill>
                  <a:srgbClr val="414141"/>
                </a:solidFill>
                <a:latin typeface="Raleway"/>
              </a:defRPr>
            </a:lvl4pPr>
            <a:lvl5pPr marL="1028700" indent="-142875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anose="020B0604020202020204" pitchFamily="34" charset="0"/>
              <a:buChar char="•"/>
              <a:tabLst>
                <a:tab pos="1143000" algn="l"/>
              </a:tabLst>
              <a:defRPr sz="1200">
                <a:solidFill>
                  <a:srgbClr val="414141"/>
                </a:solidFill>
                <a:latin typeface="Raleway"/>
              </a:defRPr>
            </a:lvl5pPr>
            <a:lvl6pPr marL="2033781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6pPr>
            <a:lvl7pPr marL="2441954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7pPr>
            <a:lvl8pPr marL="2850128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8pPr>
            <a:lvl9pPr marL="3258303" indent="-19700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dirty="0" smtClean="0">
                <a:latin typeface="+mn-lt"/>
              </a:rPr>
              <a:t>Five </a:t>
            </a:r>
            <a:r>
              <a:rPr lang="en-US" sz="1400" dirty="0" smtClean="0">
                <a:latin typeface="+mn-lt"/>
              </a:rPr>
              <a:t>Branded Templates:</a:t>
            </a:r>
            <a:endParaRPr lang="en-US" sz="1400" dirty="0" smtClean="0">
              <a:latin typeface="+mn-lt"/>
            </a:endParaRPr>
          </a:p>
          <a:p>
            <a:pPr lvl="1"/>
            <a:r>
              <a:rPr lang="en-US" sz="1200" dirty="0" smtClean="0">
                <a:latin typeface="+mn-lt"/>
              </a:rPr>
              <a:t>Logitech</a:t>
            </a:r>
          </a:p>
          <a:p>
            <a:pPr lvl="1"/>
            <a:r>
              <a:rPr lang="en-US" sz="1200" dirty="0" smtClean="0">
                <a:latin typeface="+mn-lt"/>
              </a:rPr>
              <a:t>Ultimate Ears</a:t>
            </a:r>
          </a:p>
          <a:p>
            <a:pPr lvl="1"/>
            <a:r>
              <a:rPr lang="en-US" sz="1200" dirty="0" smtClean="0">
                <a:latin typeface="+mn-lt"/>
              </a:rPr>
              <a:t>Logitech G</a:t>
            </a:r>
          </a:p>
          <a:p>
            <a:pPr lvl="1"/>
            <a:r>
              <a:rPr lang="en-US" sz="1200" dirty="0" smtClean="0">
                <a:latin typeface="+mn-lt"/>
              </a:rPr>
              <a:t>Astro</a:t>
            </a:r>
          </a:p>
          <a:p>
            <a:pPr lvl="1"/>
            <a:r>
              <a:rPr lang="en-US" sz="1200" dirty="0" smtClean="0">
                <a:latin typeface="+mn-lt"/>
              </a:rPr>
              <a:t>Jaybird</a:t>
            </a:r>
          </a:p>
          <a:p>
            <a:pPr marL="0" indent="0">
              <a:buNone/>
            </a:pPr>
            <a:r>
              <a:rPr lang="en-US" sz="1400" dirty="0" smtClean="0">
                <a:latin typeface="+mn-lt"/>
              </a:rPr>
              <a:t>Four Email Types:</a:t>
            </a:r>
          </a:p>
          <a:p>
            <a:pPr lvl="1"/>
            <a:r>
              <a:rPr lang="en-US" sz="1200" dirty="0" smtClean="0">
                <a:latin typeface="+mn-lt"/>
              </a:rPr>
              <a:t>Pre-order </a:t>
            </a:r>
            <a:r>
              <a:rPr lang="en-US" sz="1200" dirty="0">
                <a:latin typeface="+mn-lt"/>
              </a:rPr>
              <a:t>date </a:t>
            </a:r>
            <a:r>
              <a:rPr lang="en-US" sz="1200" dirty="0" smtClean="0">
                <a:latin typeface="+mn-lt"/>
              </a:rPr>
              <a:t>change </a:t>
            </a:r>
          </a:p>
          <a:p>
            <a:pPr lvl="1"/>
            <a:r>
              <a:rPr lang="en-US" sz="1200" dirty="0">
                <a:latin typeface="+mn-lt"/>
              </a:rPr>
              <a:t>O</a:t>
            </a:r>
            <a:r>
              <a:rPr lang="en-US" sz="1200" dirty="0" smtClean="0">
                <a:latin typeface="+mn-lt"/>
              </a:rPr>
              <a:t>rder confirmation</a:t>
            </a:r>
          </a:p>
          <a:p>
            <a:pPr lvl="1"/>
            <a:r>
              <a:rPr lang="en-US" sz="1200" dirty="0" smtClean="0">
                <a:latin typeface="+mn-lt"/>
              </a:rPr>
              <a:t>Shipping confirmation </a:t>
            </a:r>
          </a:p>
          <a:p>
            <a:pPr lvl="1"/>
            <a:r>
              <a:rPr lang="en-US" sz="1200" dirty="0">
                <a:latin typeface="+mn-lt"/>
              </a:rPr>
              <a:t>R</a:t>
            </a:r>
            <a:r>
              <a:rPr lang="en-US" sz="1200" dirty="0" smtClean="0">
                <a:latin typeface="+mn-lt"/>
              </a:rPr>
              <a:t>efund confirmation</a:t>
            </a:r>
            <a:endParaRPr lang="en-US" sz="1200" dirty="0">
              <a:latin typeface="+mn-lt"/>
            </a:endParaRPr>
          </a:p>
          <a:p>
            <a:pPr marL="0" indent="0">
              <a:buNone/>
            </a:pPr>
            <a:r>
              <a:rPr lang="en-US" sz="1400" dirty="0" smtClean="0"/>
              <a:t>20 Total Transactions Emails:</a:t>
            </a:r>
            <a:endParaRPr lang="en-US" sz="1400" dirty="0"/>
          </a:p>
          <a:p>
            <a:pPr marL="542038" lvl="1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Four unique </a:t>
            </a:r>
            <a:r>
              <a:rPr lang="en-US" sz="1200" dirty="0"/>
              <a:t>transactional </a:t>
            </a:r>
            <a:r>
              <a:rPr lang="en-US" sz="1200" dirty="0" smtClean="0"/>
              <a:t>email types for each of the five brands</a:t>
            </a:r>
            <a:endParaRPr lang="en-US" sz="1200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sz="1400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478" y="963534"/>
            <a:ext cx="5867400" cy="2194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4800" y="3374798"/>
            <a:ext cx="4115157" cy="1347333"/>
          </a:xfrm>
          <a:prstGeom prst="rect">
            <a:avLst/>
          </a:prstGeom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457200" y="365760"/>
            <a:ext cx="8610600" cy="4308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defRPr sz="2800" b="0" spc="0">
                <a:solidFill>
                  <a:srgbClr val="414141"/>
                </a:solidFill>
                <a:latin typeface="Raleway Light"/>
                <a:ea typeface="+mj-ea"/>
                <a:cs typeface="Raleway Light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5pPr>
            <a:lvl6pPr marL="40817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6pPr>
            <a:lvl7pPr marL="81634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7pPr>
            <a:lvl8pPr marL="12245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8pPr>
            <a:lvl9pPr marL="163269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Transactional </a:t>
            </a:r>
            <a:r>
              <a:rPr lang="en-US" kern="0" dirty="0" smtClean="0"/>
              <a:t>Template Framework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79520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457200" y="365760"/>
            <a:ext cx="8610600" cy="4308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defRPr sz="2800" b="0" spc="0">
                <a:solidFill>
                  <a:srgbClr val="414141"/>
                </a:solidFill>
                <a:latin typeface="Raleway Light"/>
                <a:ea typeface="+mj-ea"/>
                <a:cs typeface="Raleway Light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5pPr>
            <a:lvl6pPr marL="40817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6pPr>
            <a:lvl7pPr marL="81634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7pPr>
            <a:lvl8pPr marL="12245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8pPr>
            <a:lvl9pPr marL="163269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Transactional Versioning is Limited Due to Platform </a:t>
            </a:r>
            <a:endParaRPr lang="en-US" kern="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1" t="58160" r="50604" b="11472"/>
          <a:stretch/>
        </p:blipFill>
        <p:spPr bwMode="auto">
          <a:xfrm>
            <a:off x="3385370" y="933950"/>
            <a:ext cx="5554362" cy="2494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483703" y="913608"/>
            <a:ext cx="2851597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+mn-lt"/>
              </a:rPr>
              <a:t>Due to Digital River platform, limited brand versioning options are available</a:t>
            </a:r>
          </a:p>
          <a:p>
            <a:pPr marL="693923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+mn-lt"/>
              </a:rPr>
              <a:t>Today, only customization is the individual brand lo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+mn-lt"/>
              </a:rPr>
              <a:t>Future emails </a:t>
            </a:r>
            <a:r>
              <a:rPr lang="en-US" sz="1600" dirty="0">
                <a:latin typeface="+mn-lt"/>
              </a:rPr>
              <a:t>will </a:t>
            </a:r>
            <a:r>
              <a:rPr lang="en-US" sz="1600" dirty="0" smtClean="0">
                <a:latin typeface="+mn-lt"/>
              </a:rPr>
              <a:t>continue to deploy from the Digital River and are </a:t>
            </a:r>
            <a:r>
              <a:rPr lang="en-US" sz="1600" dirty="0">
                <a:latin typeface="+mn-lt"/>
              </a:rPr>
              <a:t>built on </a:t>
            </a:r>
            <a:r>
              <a:rPr lang="en-US" sz="1600" dirty="0" smtClean="0">
                <a:latin typeface="+mn-lt"/>
              </a:rPr>
              <a:t>a single grid, but need to reflect look and feel of the five individual brands</a:t>
            </a:r>
          </a:p>
          <a:p>
            <a:endParaRPr lang="en-US" sz="1600" dirty="0" smtClean="0">
              <a:latin typeface="+mn-lt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0" y="3638550"/>
            <a:ext cx="4114800" cy="1345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1398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457200" y="1194760"/>
            <a:ext cx="4038600" cy="1420902"/>
          </a:xfrm>
        </p:spPr>
        <p:txBody>
          <a:bodyPr/>
          <a:lstStyle/>
          <a:p>
            <a:pPr marL="0" lvl="0" indent="0">
              <a:buNone/>
            </a:pPr>
            <a:r>
              <a:rPr lang="en-US" b="1" dirty="0"/>
              <a:t>Fixed </a:t>
            </a:r>
            <a:r>
              <a:rPr lang="en-US" b="1" dirty="0" smtClean="0"/>
              <a:t>Elements                                            Unique to Each Brand</a:t>
            </a:r>
          </a:p>
          <a:p>
            <a:pPr marL="0" indent="0">
              <a:buNone/>
            </a:pPr>
            <a:r>
              <a:rPr lang="en-US" sz="1600" dirty="0"/>
              <a:t>Logo, </a:t>
            </a:r>
            <a:r>
              <a:rPr lang="en-US" sz="1600" dirty="0" smtClean="0"/>
              <a:t>Fonts, Copy, Product Images                                                    Color Palette &amp; Design                                          per Individual Brand Guidelines                                                </a:t>
            </a:r>
            <a:endParaRPr lang="en-US" sz="1600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4953000" y="1194760"/>
            <a:ext cx="3581399" cy="897682"/>
          </a:xfrm>
        </p:spPr>
        <p:txBody>
          <a:bodyPr/>
          <a:lstStyle/>
          <a:p>
            <a:pPr marL="0" lvl="0" indent="0">
              <a:buNone/>
            </a:pPr>
            <a:r>
              <a:rPr lang="en-US" sz="1800" b="1" dirty="0" smtClean="0"/>
              <a:t>Localization</a:t>
            </a:r>
          </a:p>
          <a:p>
            <a:pPr marL="0" lvl="0" indent="0">
              <a:buNone/>
            </a:pPr>
            <a:r>
              <a:rPr lang="en-US" dirty="0" smtClean="0"/>
              <a:t>Focus on English only to support North America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430887"/>
          </a:xfrm>
        </p:spPr>
        <p:txBody>
          <a:bodyPr/>
          <a:lstStyle/>
          <a:p>
            <a:r>
              <a:rPr lang="en-US" dirty="0" smtClean="0"/>
              <a:t>Transactional Template Requirement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10"/>
          </p:nvPr>
        </p:nvSpPr>
        <p:spPr>
          <a:xfrm>
            <a:off x="457200" y="3023560"/>
            <a:ext cx="3886200" cy="1482457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Narvar Order Tracking Experience</a:t>
            </a:r>
          </a:p>
          <a:p>
            <a:pPr marL="0" indent="0">
              <a:buNone/>
            </a:pPr>
            <a:r>
              <a:rPr lang="en-US" sz="1400" dirty="0" smtClean="0"/>
              <a:t>Order Confirmation and Shipping </a:t>
            </a:r>
            <a:r>
              <a:rPr lang="en-US" sz="1400" dirty="0"/>
              <a:t>emails will link directly to Narvar order tracking experience, so need to consider this in our email designs for consistent and cohesive feel  (Narvar examples included in appendix) 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half" idx="11"/>
          </p:nvPr>
        </p:nvSpPr>
        <p:spPr>
          <a:xfrm>
            <a:off x="4953000" y="3028950"/>
            <a:ext cx="3688080" cy="1667123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>
                <a:solidFill>
                  <a:schemeClr val="tx1"/>
                </a:solidFill>
              </a:rPr>
              <a:t>Considerations As Applicable to Digital River Platform:</a:t>
            </a:r>
          </a:p>
          <a:p>
            <a:pPr marL="0" indent="0">
              <a:buNone/>
            </a:pPr>
            <a:r>
              <a:rPr lang="en-US" sz="1600" dirty="0" smtClean="0">
                <a:solidFill>
                  <a:schemeClr val="tx2"/>
                </a:solidFill>
              </a:rPr>
              <a:t>Mobile first                                                        ADA compliant                                           Easily scanable                                          Enable efficiencies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60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365760"/>
            <a:ext cx="7991857" cy="430887"/>
          </a:xfrm>
        </p:spPr>
        <p:txBody>
          <a:bodyPr/>
          <a:lstStyle/>
          <a:p>
            <a:r>
              <a:rPr lang="en-US" dirty="0" smtClean="0"/>
              <a:t>Transactional </a:t>
            </a:r>
            <a:r>
              <a:rPr lang="en-US" dirty="0" smtClean="0"/>
              <a:t>Email Content Mandatorie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0"/>
          </p:nvPr>
        </p:nvSpPr>
        <p:spPr>
          <a:xfrm>
            <a:off x="457200" y="1158100"/>
            <a:ext cx="3872866" cy="959237"/>
          </a:xfrm>
        </p:spPr>
        <p:txBody>
          <a:bodyPr/>
          <a:lstStyle/>
          <a:p>
            <a:r>
              <a:rPr lang="en-US" dirty="0" smtClean="0"/>
              <a:t>Order Confirmation &amp;                                                Shipping Confirmation</a:t>
            </a:r>
            <a:endParaRPr lang="en-US" dirty="0"/>
          </a:p>
          <a:p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1"/>
          </p:nvPr>
        </p:nvSpPr>
        <p:spPr>
          <a:xfrm>
            <a:off x="4754880" y="1155313"/>
            <a:ext cx="3778797" cy="959237"/>
          </a:xfrm>
        </p:spPr>
        <p:txBody>
          <a:bodyPr/>
          <a:lstStyle/>
          <a:p>
            <a:r>
              <a:rPr lang="en-US" dirty="0"/>
              <a:t>Refund </a:t>
            </a:r>
            <a:r>
              <a:rPr lang="en-US" dirty="0" smtClean="0"/>
              <a:t>Confirmation &amp;                          Pre-Order </a:t>
            </a:r>
            <a:r>
              <a:rPr lang="en-US" dirty="0"/>
              <a:t>Date Change</a:t>
            </a:r>
          </a:p>
          <a:p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57200" y="1896477"/>
            <a:ext cx="3873608" cy="3113673"/>
          </a:xfrm>
        </p:spPr>
        <p:txBody>
          <a:bodyPr/>
          <a:lstStyle/>
          <a:p>
            <a:r>
              <a:rPr lang="en-US" dirty="0" smtClean="0"/>
              <a:t>Order #</a:t>
            </a:r>
          </a:p>
          <a:p>
            <a:r>
              <a:rPr lang="en-US" dirty="0" smtClean="0"/>
              <a:t>Intro </a:t>
            </a:r>
            <a:r>
              <a:rPr lang="en-US" dirty="0"/>
              <a:t>thanking them</a:t>
            </a:r>
          </a:p>
          <a:p>
            <a:r>
              <a:rPr lang="en-US" dirty="0"/>
              <a:t>Product information (Copy, Image)</a:t>
            </a:r>
          </a:p>
          <a:p>
            <a:r>
              <a:rPr lang="en-US" dirty="0"/>
              <a:t>FAQs indicated in email w/ link to </a:t>
            </a:r>
            <a:r>
              <a:rPr lang="en-US" dirty="0" smtClean="0"/>
              <a:t> FAQ </a:t>
            </a:r>
            <a:r>
              <a:rPr lang="en-US" dirty="0"/>
              <a:t>/ Support</a:t>
            </a:r>
          </a:p>
          <a:p>
            <a:r>
              <a:rPr lang="en-US" dirty="0"/>
              <a:t>Social </a:t>
            </a:r>
            <a:r>
              <a:rPr lang="en-US" dirty="0" smtClean="0"/>
              <a:t>handles</a:t>
            </a:r>
            <a:endParaRPr lang="en-US" dirty="0"/>
          </a:p>
          <a:p>
            <a:r>
              <a:rPr lang="en-US" dirty="0"/>
              <a:t>Email sign up </a:t>
            </a:r>
          </a:p>
          <a:p>
            <a:r>
              <a:rPr lang="en-US" dirty="0" smtClean="0"/>
              <a:t>Footer</a:t>
            </a:r>
          </a:p>
          <a:p>
            <a:r>
              <a:rPr lang="en-US" dirty="0" smtClean="0"/>
              <a:t>No Marketing Content to be Included 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754879" y="1863407"/>
            <a:ext cx="3779521" cy="1615827"/>
          </a:xfrm>
        </p:spPr>
        <p:txBody>
          <a:bodyPr/>
          <a:lstStyle/>
          <a:p>
            <a:r>
              <a:rPr lang="en-US" dirty="0" smtClean="0"/>
              <a:t>All content is valuable</a:t>
            </a:r>
            <a:r>
              <a:rPr lang="en-US" dirty="0"/>
              <a:t>, but needs a better design and a look at the </a:t>
            </a:r>
            <a:r>
              <a:rPr lang="en-US" dirty="0" smtClean="0"/>
              <a:t>copy</a:t>
            </a:r>
          </a:p>
          <a:p>
            <a:r>
              <a:rPr lang="en-US" dirty="0"/>
              <a:t>No Marketing Content </a:t>
            </a:r>
            <a:r>
              <a:rPr lang="en-US" dirty="0" smtClean="0"/>
              <a:t>to be </a:t>
            </a:r>
            <a:r>
              <a:rPr lang="en-US" dirty="0"/>
              <a:t>Included 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4495800" y="1158100"/>
            <a:ext cx="0" cy="354725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67195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x9_YES_Presentation_Template_181010">
  <a:themeElements>
    <a:clrScheme name="Yes 2018">
      <a:dk1>
        <a:srgbClr val="000000"/>
      </a:dk1>
      <a:lt1>
        <a:srgbClr val="FFFFFF"/>
      </a:lt1>
      <a:dk2>
        <a:srgbClr val="303030"/>
      </a:dk2>
      <a:lt2>
        <a:srgbClr val="A9A9A9"/>
      </a:lt2>
      <a:accent1>
        <a:srgbClr val="54B948"/>
      </a:accent1>
      <a:accent2>
        <a:srgbClr val="F6985E"/>
      </a:accent2>
      <a:accent3>
        <a:srgbClr val="A7CD45"/>
      </a:accent3>
      <a:accent4>
        <a:srgbClr val="2DBFD1"/>
      </a:accent4>
      <a:accent5>
        <a:srgbClr val="D9DE3B"/>
      </a:accent5>
      <a:accent6>
        <a:srgbClr val="6A66AA"/>
      </a:accent6>
      <a:hlink>
        <a:srgbClr val="2CC1D4"/>
      </a:hlink>
      <a:folHlink>
        <a:srgbClr val="377B93"/>
      </a:folHlink>
    </a:clrScheme>
    <a:fontScheme name="Yes Font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  <a:extLst>
    <a:ext uri="{05A4C25C-085E-4340-85A3-A5531E510DB2}">
      <thm15:themeFamily xmlns:thm15="http://schemas.microsoft.com/office/thememl/2012/main" name="Yes Marketing Template.pptx" id="{E6A7BA2A-EF18-4CBE-9BE3-5E1055CC1A93}" vid="{768A174E-5250-4B7F-972C-BFE3F03287E8}"/>
    </a:ext>
  </a:extLst>
</a:theme>
</file>

<file path=ppt/theme/theme2.xml><?xml version="1.0" encoding="utf-8"?>
<a:theme xmlns:a="http://schemas.openxmlformats.org/drawingml/2006/main" name="1_16x9_YES_Presentation_Template_181010">
  <a:themeElements>
    <a:clrScheme name="Yes 2018">
      <a:dk1>
        <a:srgbClr val="000000"/>
      </a:dk1>
      <a:lt1>
        <a:srgbClr val="FFFFFF"/>
      </a:lt1>
      <a:dk2>
        <a:srgbClr val="303030"/>
      </a:dk2>
      <a:lt2>
        <a:srgbClr val="A9A9A9"/>
      </a:lt2>
      <a:accent1>
        <a:srgbClr val="54B948"/>
      </a:accent1>
      <a:accent2>
        <a:srgbClr val="F6985E"/>
      </a:accent2>
      <a:accent3>
        <a:srgbClr val="A7CD45"/>
      </a:accent3>
      <a:accent4>
        <a:srgbClr val="2DBFD1"/>
      </a:accent4>
      <a:accent5>
        <a:srgbClr val="D9DE3B"/>
      </a:accent5>
      <a:accent6>
        <a:srgbClr val="6A66AA"/>
      </a:accent6>
      <a:hlink>
        <a:srgbClr val="2CC1D4"/>
      </a:hlink>
      <a:folHlink>
        <a:srgbClr val="377B93"/>
      </a:folHlink>
    </a:clrScheme>
    <a:fontScheme name="Yes Font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  <a:extLst>
    <a:ext uri="{05A4C25C-085E-4340-85A3-A5531E510DB2}">
      <thm15:themeFamily xmlns:thm15="http://schemas.microsoft.com/office/thememl/2012/main" name="Yes Marketing Template.pptx" id="{E6A7BA2A-EF18-4CBE-9BE3-5E1055CC1A93}" vid="{768A174E-5250-4B7F-972C-BFE3F03287E8}"/>
    </a:ext>
  </a:extLst>
</a:theme>
</file>

<file path=ppt/theme/theme3.xml><?xml version="1.0" encoding="utf-8"?>
<a:theme xmlns:a="http://schemas.openxmlformats.org/drawingml/2006/main" name="2_16x9_YES_Presentation_Template_181010">
  <a:themeElements>
    <a:clrScheme name="Yes 2018">
      <a:dk1>
        <a:srgbClr val="000000"/>
      </a:dk1>
      <a:lt1>
        <a:srgbClr val="FFFFFF"/>
      </a:lt1>
      <a:dk2>
        <a:srgbClr val="303030"/>
      </a:dk2>
      <a:lt2>
        <a:srgbClr val="A9A9A9"/>
      </a:lt2>
      <a:accent1>
        <a:srgbClr val="54B948"/>
      </a:accent1>
      <a:accent2>
        <a:srgbClr val="F6985E"/>
      </a:accent2>
      <a:accent3>
        <a:srgbClr val="A7CD45"/>
      </a:accent3>
      <a:accent4>
        <a:srgbClr val="2DBFD1"/>
      </a:accent4>
      <a:accent5>
        <a:srgbClr val="D9DE3B"/>
      </a:accent5>
      <a:accent6>
        <a:srgbClr val="6A66AA"/>
      </a:accent6>
      <a:hlink>
        <a:srgbClr val="2CC1D4"/>
      </a:hlink>
      <a:folHlink>
        <a:srgbClr val="377B93"/>
      </a:folHlink>
    </a:clrScheme>
    <a:fontScheme name="Yes Font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  <a:extLst>
    <a:ext uri="{05A4C25C-085E-4340-85A3-A5531E510DB2}">
      <thm15:themeFamily xmlns:thm15="http://schemas.microsoft.com/office/thememl/2012/main" name="Yes Marketing Template.pptx" id="{E6A7BA2A-EF18-4CBE-9BE3-5E1055CC1A93}" vid="{768A174E-5250-4B7F-972C-BFE3F03287E8}"/>
    </a:ext>
  </a:extLst>
</a:theme>
</file>

<file path=ppt/theme/theme4.xml><?xml version="1.0" encoding="utf-8"?>
<a:theme xmlns:a="http://schemas.openxmlformats.org/drawingml/2006/main" name="Office Theme">
  <a:themeElements>
    <a:clrScheme name="Visa theme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Custom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Visa theme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Custom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7B33E448C1384198ACAEE752A935FF" ma:contentTypeVersion="0" ma:contentTypeDescription="Create a new document." ma:contentTypeScope="" ma:versionID="5e63371c50a8ab97e46c59abd00b552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E850B79-6921-4128-B9C6-EE7FAB79B4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8060909-969A-44A6-AE1F-00EF54D015B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507912D-FD92-4EC3-9AAD-1F4B379DEC6E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es Marketing Template</Template>
  <TotalTime>17243</TotalTime>
  <Words>547</Words>
  <Application>Microsoft Office PowerPoint</Application>
  <PresentationFormat>On-screen Show (16:9)</PresentationFormat>
  <Paragraphs>112</Paragraphs>
  <Slides>24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Raleway SemiBold</vt:lpstr>
      <vt:lpstr>Raleway Light</vt:lpstr>
      <vt:lpstr>Poppins</vt:lpstr>
      <vt:lpstr>Raleway</vt:lpstr>
      <vt:lpstr>Arial</vt:lpstr>
      <vt:lpstr>Segoe UI</vt:lpstr>
      <vt:lpstr>16x9_YES_Presentation_Template_181010</vt:lpstr>
      <vt:lpstr>1_16x9_YES_Presentation_Template_181010</vt:lpstr>
      <vt:lpstr>2_16x9_YES_Presentation_Template_181010</vt:lpstr>
      <vt:lpstr>think-cell Slide</vt:lpstr>
      <vt:lpstr>Logitech Project Orbit: Transactional Template Brief</vt:lpstr>
      <vt:lpstr>Content</vt:lpstr>
      <vt:lpstr>Project Orbit Overview</vt:lpstr>
      <vt:lpstr>Logitech Transactional Email Communications Architecture</vt:lpstr>
      <vt:lpstr>PowerPoint Presentation</vt:lpstr>
      <vt:lpstr>PowerPoint Presentation</vt:lpstr>
      <vt:lpstr>PowerPoint Presentation</vt:lpstr>
      <vt:lpstr>Transactional Template Requirements</vt:lpstr>
      <vt:lpstr>Transactional Email Content Mandatories</vt:lpstr>
      <vt:lpstr>Design Inspi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xt Steps</vt:lpstr>
      <vt:lpstr>Moving Forward</vt:lpstr>
      <vt:lpstr>Thank you!</vt:lpstr>
      <vt:lpstr>Narvar Order Tracking Experienc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Info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with presenter info</dc:title>
  <dc:creator>Ramos, Tiffany</dc:creator>
  <cp:keywords>Yes Marketing Template</cp:keywords>
  <cp:lastModifiedBy>Sallusti, Kerri</cp:lastModifiedBy>
  <cp:revision>747</cp:revision>
  <cp:lastPrinted>2018-11-09T02:59:22Z</cp:lastPrinted>
  <dcterms:created xsi:type="dcterms:W3CDTF">2018-10-18T01:15:12Z</dcterms:created>
  <dcterms:modified xsi:type="dcterms:W3CDTF">2018-12-03T01:0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7B33E448C1384198ACAEE752A935FF</vt:lpwstr>
  </property>
</Properties>
</file>